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4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.xml" ContentType="application/vnd.openxmlformats-officedocument.presentationml.tags+xml"/>
  <Override PartName="/ppt/notesSlides/notesSlide15.xml" ContentType="application/vnd.openxmlformats-officedocument.presentationml.notesSlide+xml"/>
  <Override PartName="/ppt/tags/tag6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2.xml" ContentType="application/vnd.openxmlformats-officedocument.drawingml.chart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3" r:id="rId1"/>
    <p:sldMasterId id="2147483665" r:id="rId2"/>
  </p:sldMasterIdLst>
  <p:notesMasterIdLst>
    <p:notesMasterId r:id="rId23"/>
  </p:notesMasterIdLst>
  <p:handoutMasterIdLst>
    <p:handoutMasterId r:id="rId24"/>
  </p:handoutMasterIdLst>
  <p:sldIdLst>
    <p:sldId id="379" r:id="rId3"/>
    <p:sldId id="337" r:id="rId4"/>
    <p:sldId id="338" r:id="rId5"/>
    <p:sldId id="334" r:id="rId6"/>
    <p:sldId id="376" r:id="rId7"/>
    <p:sldId id="377" r:id="rId8"/>
    <p:sldId id="333" r:id="rId9"/>
    <p:sldId id="340" r:id="rId10"/>
    <p:sldId id="342" r:id="rId11"/>
    <p:sldId id="343" r:id="rId12"/>
    <p:sldId id="374" r:id="rId13"/>
    <p:sldId id="380" r:id="rId14"/>
    <p:sldId id="381" r:id="rId15"/>
    <p:sldId id="382" r:id="rId16"/>
    <p:sldId id="383" r:id="rId17"/>
    <p:sldId id="384" r:id="rId18"/>
    <p:sldId id="385" r:id="rId19"/>
    <p:sldId id="386" r:id="rId20"/>
    <p:sldId id="387" r:id="rId21"/>
    <p:sldId id="390" r:id="rId22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FF"/>
    <a:srgbClr val="333399"/>
    <a:srgbClr val="99CCFF"/>
    <a:srgbClr val="F79646"/>
    <a:srgbClr val="FFFF99"/>
    <a:srgbClr val="FFFFCC"/>
    <a:srgbClr val="FFCCCC"/>
    <a:srgbClr val="F9EEED"/>
    <a:srgbClr val="9BBB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381" autoAdjust="0"/>
    <p:restoredTop sz="97882" autoAdjust="0"/>
  </p:normalViewPr>
  <p:slideViewPr>
    <p:cSldViewPr>
      <p:cViewPr>
        <p:scale>
          <a:sx n="80" d="100"/>
          <a:sy n="80" d="100"/>
        </p:scale>
        <p:origin x="-276" y="-91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5082508250825083"/>
          <c:y val="6.0109289617486336E-2"/>
          <c:w val="0.43564356435643564"/>
          <c:h val="0.9143897996357013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tx2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/>
              <a:bevelB/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99CCFF"/>
              </a:solidFill>
              <a:scene3d>
                <a:camera prst="orthographicFront"/>
                <a:lightRig rig="threePt" dir="t"/>
              </a:scene3d>
              <a:sp3d>
                <a:bevelT/>
                <a:bevelB/>
              </a:sp3d>
            </c:spPr>
          </c:dPt>
          <c:dLbls>
            <c:txPr>
              <a:bodyPr/>
              <a:lstStyle/>
              <a:p>
                <a:pPr>
                  <a:defRPr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J$1</c:f>
              <c:strCache>
                <c:ptCount val="9"/>
                <c:pt idx="0">
                  <c:v>Чукотский автономный округ </c:v>
                </c:pt>
                <c:pt idx="1">
                  <c:v>Приморский край </c:v>
                </c:pt>
                <c:pt idx="2">
                  <c:v>Амурская область </c:v>
                </c:pt>
                <c:pt idx="3">
                  <c:v>Еврейская автономная область </c:v>
                </c:pt>
                <c:pt idx="4">
                  <c:v>Хабаровский край </c:v>
                </c:pt>
                <c:pt idx="5">
                  <c:v>Камчатский край </c:v>
                </c:pt>
                <c:pt idx="6">
                  <c:v>Республика Саха (Якутия) </c:v>
                </c:pt>
                <c:pt idx="7">
                  <c:v>Магаданская область </c:v>
                </c:pt>
                <c:pt idx="8">
                  <c:v>Сахалинская область </c:v>
                </c:pt>
              </c:strCache>
            </c:strRef>
          </c:cat>
          <c:val>
            <c:numRef>
              <c:f>Sheet1!$B$2:$J$2</c:f>
              <c:numCache>
                <c:formatCode>General</c:formatCode>
                <c:ptCount val="9"/>
                <c:pt idx="0">
                  <c:v>85.8</c:v>
                </c:pt>
                <c:pt idx="1">
                  <c:v>87.7</c:v>
                </c:pt>
                <c:pt idx="2">
                  <c:v>91</c:v>
                </c:pt>
                <c:pt idx="3">
                  <c:v>91.4</c:v>
                </c:pt>
                <c:pt idx="4">
                  <c:v>100.4</c:v>
                </c:pt>
                <c:pt idx="5">
                  <c:v>102</c:v>
                </c:pt>
                <c:pt idx="6">
                  <c:v>103.8</c:v>
                </c:pt>
                <c:pt idx="7">
                  <c:v>106.5</c:v>
                </c:pt>
                <c:pt idx="8">
                  <c:v>113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3"/>
        <c:overlap val="89"/>
        <c:axId val="120653696"/>
        <c:axId val="120655232"/>
      </c:barChart>
      <c:catAx>
        <c:axId val="12065369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2842">
            <a:solidFill>
              <a:schemeClr val="tx1"/>
            </a:solidFill>
            <a:prstDash val="solid"/>
          </a:ln>
        </c:spPr>
        <c:txPr>
          <a:bodyPr rot="0" vert="horz" anchor="b" anchorCtr="0"/>
          <a:lstStyle/>
          <a:p>
            <a:pPr>
              <a:defRPr sz="1535" b="0" i="0" u="none" strike="noStrike" baseline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12065523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2065523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0653696"/>
        <c:crosses val="autoZero"/>
        <c:crossBetween val="between"/>
      </c:valAx>
      <c:spPr>
        <a:noFill/>
        <a:ln w="2437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44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977545654538541"/>
          <c:y val="3.4234234234234232E-2"/>
          <c:w val="0.78843184733458582"/>
          <c:h val="0.77477477477477519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 Число безработных, человек</c:v>
                </c:pt>
              </c:strCache>
            </c:strRef>
          </c:tx>
          <c:spPr>
            <a:solidFill>
              <a:srgbClr val="99CCFF"/>
            </a:solidFill>
            <a:ln w="6303">
              <a:noFill/>
              <a:prstDash val="solid"/>
            </a:ln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4"/>
              <c:numFmt formatCode="#,##0" sourceLinked="0"/>
              <c:spPr>
                <a:noFill/>
                <a:ln w="12606">
                  <a:noFill/>
                </a:ln>
              </c:spPr>
              <c:txPr>
                <a:bodyPr/>
                <a:lstStyle/>
                <a:p>
                  <a:pPr>
                    <a:defRPr sz="1400" b="1" i="0" u="none" strike="noStrike" baseline="0">
                      <a:solidFill>
                        <a:srgbClr val="CC99FF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spPr>
              <a:noFill/>
              <a:ln w="12606">
                <a:noFill/>
              </a:ln>
            </c:spPr>
            <c:txPr>
              <a:bodyPr/>
              <a:lstStyle/>
              <a:p>
                <a:pPr>
                  <a:defRPr sz="1399" b="1" i="0" u="none" strike="noStrike" baseline="0">
                    <a:solidFill>
                      <a:schemeClr val="tx1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E$1</c:f>
              <c:numCache>
                <c:formatCode>General</c:formatCod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</c:numCache>
            </c:numRef>
          </c:cat>
          <c:val>
            <c:numRef>
              <c:f>Sheet1!$B$2:$E$2</c:f>
              <c:numCache>
                <c:formatCode>General</c:formatCode>
                <c:ptCount val="4"/>
                <c:pt idx="0" formatCode="#,##0">
                  <c:v>821</c:v>
                </c:pt>
                <c:pt idx="1">
                  <c:v>796</c:v>
                </c:pt>
                <c:pt idx="2">
                  <c:v>849</c:v>
                </c:pt>
                <c:pt idx="3">
                  <c:v>86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43105408"/>
        <c:axId val="143107200"/>
      </c:barChart>
      <c:lineChart>
        <c:grouping val="standard"/>
        <c:varyColors val="0"/>
        <c:ser>
          <c:idx val="0"/>
          <c:order val="1"/>
          <c:tx>
            <c:strRef>
              <c:f>Sheet1!$A$3</c:f>
              <c:strCache>
                <c:ptCount val="1"/>
                <c:pt idx="0">
                  <c:v> Уровень зарегистрированной безработицы (на конец года), в % </c:v>
                </c:pt>
              </c:strCache>
            </c:strRef>
          </c:tx>
          <c:spPr>
            <a:ln w="50767">
              <a:solidFill>
                <a:srgbClr val="0070C0"/>
              </a:solidFill>
              <a:prstDash val="solid"/>
            </a:ln>
          </c:spPr>
          <c:marker>
            <c:symbol val="diamond"/>
            <c:size val="7"/>
            <c:spPr>
              <a:solidFill>
                <a:srgbClr val="00B0F0"/>
              </a:solidFill>
              <a:ln>
                <a:solidFill>
                  <a:srgbClr val="0000FF"/>
                </a:solidFill>
                <a:prstDash val="solid"/>
              </a:ln>
            </c:spPr>
          </c:marker>
          <c:dLbls>
            <c:txPr>
              <a:bodyPr/>
              <a:lstStyle/>
              <a:p>
                <a:pPr>
                  <a:defRPr sz="1400" b="1">
                    <a:solidFill>
                      <a:srgbClr val="333399"/>
                    </a:solidFill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E$1</c:f>
              <c:numCache>
                <c:formatCode>General</c:formatCod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</c:numCache>
            </c:numRef>
          </c:cat>
          <c:val>
            <c:numRef>
              <c:f>Sheet1!$B$3:$E$3</c:f>
              <c:numCache>
                <c:formatCode>General</c:formatCode>
                <c:ptCount val="4"/>
                <c:pt idx="0">
                  <c:v>2.5</c:v>
                </c:pt>
                <c:pt idx="1">
                  <c:v>2.4</c:v>
                </c:pt>
                <c:pt idx="2">
                  <c:v>2.5</c:v>
                </c:pt>
                <c:pt idx="3">
                  <c:v>2.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3108736"/>
        <c:axId val="143126912"/>
      </c:lineChart>
      <c:catAx>
        <c:axId val="143105408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nextTo"/>
        <c:spPr>
          <a:ln w="630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99" b="0" i="0" u="none" strike="noStrike" baseline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143107200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43107200"/>
        <c:scaling>
          <c:orientation val="minMax"/>
          <c:max val="1200"/>
          <c:min val="0"/>
        </c:scaling>
        <c:delete val="0"/>
        <c:axPos val="l"/>
        <c:numFmt formatCode="#,##0" sourceLinked="1"/>
        <c:majorTickMark val="cross"/>
        <c:minorTickMark val="none"/>
        <c:tickLblPos val="nextTo"/>
        <c:spPr>
          <a:ln w="630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99" b="0" i="0" u="none" strike="noStrike" baseline="0">
                <a:solidFill>
                  <a:srgbClr val="000000"/>
                </a:solidFill>
                <a:latin typeface="Times New Roman" pitchFamily="18" charset="0"/>
                <a:ea typeface="Arial"/>
                <a:cs typeface="Times New Roman" pitchFamily="18" charset="0"/>
              </a:defRPr>
            </a:pPr>
            <a:endParaRPr lang="ru-RU"/>
          </a:p>
        </c:txPr>
        <c:crossAx val="143105408"/>
        <c:crosses val="autoZero"/>
        <c:crossBetween val="between"/>
        <c:majorUnit val="300"/>
      </c:valAx>
      <c:catAx>
        <c:axId val="1431087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3126912"/>
        <c:crosses val="autoZero"/>
        <c:auto val="0"/>
        <c:lblAlgn val="ctr"/>
        <c:lblOffset val="100"/>
        <c:noMultiLvlLbl val="0"/>
      </c:catAx>
      <c:valAx>
        <c:axId val="143126912"/>
        <c:scaling>
          <c:orientation val="minMax"/>
          <c:max val="3.5"/>
          <c:min val="0"/>
        </c:scaling>
        <c:delete val="0"/>
        <c:axPos val="r"/>
        <c:numFmt formatCode="General" sourceLinked="1"/>
        <c:majorTickMark val="cross"/>
        <c:minorTickMark val="none"/>
        <c:tickLblPos val="nextTo"/>
        <c:spPr>
          <a:ln w="630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Times New Roman" pitchFamily="18" charset="0"/>
                <a:ea typeface="Arial"/>
                <a:cs typeface="Times New Roman" pitchFamily="18" charset="0"/>
              </a:defRPr>
            </a:pPr>
            <a:endParaRPr lang="ru-RU"/>
          </a:p>
        </c:txPr>
        <c:crossAx val="143108736"/>
        <c:crosses val="max"/>
        <c:crossBetween val="between"/>
        <c:majorUnit val="1"/>
        <c:minorUnit val="0.5"/>
      </c:valAx>
      <c:spPr>
        <a:noFill/>
        <a:ln w="6303">
          <a:solidFill>
            <a:srgbClr val="FFFFFF"/>
          </a:solidFill>
          <a:prstDash val="solid"/>
        </a:ln>
      </c:spPr>
    </c:plotArea>
    <c:legend>
      <c:legendPos val="r"/>
      <c:legendEntry>
        <c:idx val="0"/>
        <c:txPr>
          <a:bodyPr/>
          <a:lstStyle/>
          <a:p>
            <a:pPr>
              <a:defRPr sz="1199" b="0" i="0" u="none" strike="noStrike" baseline="0">
                <a:solidFill>
                  <a:schemeClr val="tx1"/>
                </a:solidFill>
                <a:latin typeface="Times New Roman" pitchFamily="18" charset="0"/>
                <a:ea typeface="Arial"/>
                <a:cs typeface="Times New Roman" pitchFamily="18" charset="0"/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199" b="0" i="0" u="none" strike="noStrike" baseline="0">
                <a:solidFill>
                  <a:schemeClr val="tx1"/>
                </a:solidFill>
                <a:latin typeface="Times New Roman" pitchFamily="18" charset="0"/>
                <a:ea typeface="Arial"/>
                <a:cs typeface="Times New Roman" pitchFamily="18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4.4491525423728813E-2"/>
          <c:y val="0.88844803955819518"/>
          <c:w val="0.9173728813559322"/>
          <c:h val="6.6195121514247557E-2"/>
        </c:manualLayout>
      </c:layout>
      <c:overlay val="0"/>
      <c:spPr>
        <a:noFill/>
        <a:ln w="12606">
          <a:noFill/>
        </a:ln>
      </c:spPr>
      <c:txPr>
        <a:bodyPr/>
        <a:lstStyle/>
        <a:p>
          <a:pPr>
            <a:defRPr sz="729" b="1" i="0" u="none" strike="noStrike" baseline="0">
              <a:solidFill>
                <a:schemeClr val="tx1"/>
              </a:solidFill>
              <a:latin typeface="Times New Roman" pitchFamily="18" charset="0"/>
              <a:ea typeface="Arial"/>
              <a:cs typeface="Times New Roman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497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868ED9-4086-41D1-94E9-EC2DDBEFA955}" type="doc">
      <dgm:prSet loTypeId="urn:microsoft.com/office/officeart/2005/8/layout/pyramid2" loCatId="pyramid" qsTypeId="urn:microsoft.com/office/officeart/2005/8/quickstyle/3d1" qsCatId="3D" csTypeId="urn:microsoft.com/office/officeart/2005/8/colors/accent1_2#1" csCatId="accent1" phldr="1"/>
      <dgm:spPr/>
      <dgm:t>
        <a:bodyPr/>
        <a:lstStyle/>
        <a:p>
          <a:endParaRPr lang="ru-RU"/>
        </a:p>
      </dgm:t>
    </dgm:pt>
    <dgm:pt modelId="{FDD48968-8453-4EF2-BFA9-B1A58B2C80CF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Добыча серебра - 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solidFill>
                <a:srgbClr val="3399FF"/>
              </a:solidFill>
              <a:latin typeface="Times New Roman" pitchFamily="18" charset="0"/>
              <a:cs typeface="Times New Roman" pitchFamily="18" charset="0"/>
            </a:rPr>
            <a:t>112,9% к 2014 году</a:t>
          </a:r>
        </a:p>
      </dgm:t>
    </dgm:pt>
    <dgm:pt modelId="{D1422C3F-4BD8-4CB4-A0C6-3E37C22D488B}" type="parTrans" cxnId="{06BBAC9A-B0CD-4786-B7A1-C6DE038F4F4F}">
      <dgm:prSet/>
      <dgm:spPr/>
      <dgm:t>
        <a:bodyPr/>
        <a:lstStyle/>
        <a:p>
          <a:endParaRPr lang="ru-RU"/>
        </a:p>
      </dgm:t>
    </dgm:pt>
    <dgm:pt modelId="{7EACB796-0386-401F-9F2E-6D0FCCA23132}" type="sibTrans" cxnId="{06BBAC9A-B0CD-4786-B7A1-C6DE038F4F4F}">
      <dgm:prSet/>
      <dgm:spPr/>
      <dgm:t>
        <a:bodyPr/>
        <a:lstStyle/>
        <a:p>
          <a:endParaRPr lang="ru-RU"/>
        </a:p>
      </dgm:t>
    </dgm:pt>
    <dgm:pt modelId="{13125AC7-1323-4E92-8951-02959970F87B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Объем платных услуг населению - 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solidFill>
                <a:srgbClr val="3399FF"/>
              </a:solidFill>
              <a:latin typeface="Times New Roman" pitchFamily="18" charset="0"/>
              <a:cs typeface="Times New Roman" pitchFamily="18" charset="0"/>
            </a:rPr>
            <a:t>110,6% к 2014 году</a:t>
          </a:r>
        </a:p>
      </dgm:t>
    </dgm:pt>
    <dgm:pt modelId="{CC17F6EB-895E-41B7-882B-E3DCFB66925A}" type="parTrans" cxnId="{285A5162-F578-4A64-AB51-C6D2EFDF69B9}">
      <dgm:prSet/>
      <dgm:spPr/>
      <dgm:t>
        <a:bodyPr/>
        <a:lstStyle/>
        <a:p>
          <a:endParaRPr lang="ru-RU"/>
        </a:p>
      </dgm:t>
    </dgm:pt>
    <dgm:pt modelId="{014E901E-0CF0-4B6B-AA25-3B3D7C088C60}" type="sibTrans" cxnId="{285A5162-F578-4A64-AB51-C6D2EFDF69B9}">
      <dgm:prSet/>
      <dgm:spPr/>
      <dgm:t>
        <a:bodyPr/>
        <a:lstStyle/>
        <a:p>
          <a:endParaRPr lang="ru-RU"/>
        </a:p>
      </dgm:t>
    </dgm:pt>
    <dgm:pt modelId="{05EFF6B2-8349-4CD6-9ED0-D753039D4842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Объем строительных работ - 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solidFill>
                <a:srgbClr val="3399FF"/>
              </a:solidFill>
              <a:latin typeface="Times New Roman" pitchFamily="18" charset="0"/>
              <a:cs typeface="Times New Roman" pitchFamily="18" charset="0"/>
            </a:rPr>
            <a:t>в 3 раза к 2014 году</a:t>
          </a:r>
        </a:p>
      </dgm:t>
    </dgm:pt>
    <dgm:pt modelId="{7541DF26-B737-42CF-819D-FCA8FD46F812}" type="parTrans" cxnId="{41588F9F-F104-4F04-A5ED-48216FC9652B}">
      <dgm:prSet/>
      <dgm:spPr/>
      <dgm:t>
        <a:bodyPr/>
        <a:lstStyle/>
        <a:p>
          <a:endParaRPr lang="ru-RU"/>
        </a:p>
      </dgm:t>
    </dgm:pt>
    <dgm:pt modelId="{2CD399B4-4CB7-4067-BFDA-F1A4EAE92278}" type="sibTrans" cxnId="{41588F9F-F104-4F04-A5ED-48216FC9652B}">
      <dgm:prSet/>
      <dgm:spPr/>
      <dgm:t>
        <a:bodyPr/>
        <a:lstStyle/>
        <a:p>
          <a:endParaRPr lang="ru-RU"/>
        </a:p>
      </dgm:t>
    </dgm:pt>
    <dgm:pt modelId="{E55FCF31-DCEE-4AE8-8333-6B2F56E1BDC6}">
      <dgm:prSet custT="1"/>
      <dgm:spPr/>
      <dgm:t>
        <a:bodyPr/>
        <a:lstStyle/>
        <a:p>
          <a:pPr rtl="0"/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Ввод в действие жилых домов -                                           </a:t>
          </a:r>
          <a:r>
            <a:rPr lang="ru-RU" sz="1400" b="1" dirty="0" smtClean="0">
              <a:solidFill>
                <a:srgbClr val="3399FF"/>
              </a:solidFill>
              <a:latin typeface="Times New Roman" pitchFamily="18" charset="0"/>
              <a:cs typeface="Times New Roman" pitchFamily="18" charset="0"/>
            </a:rPr>
            <a:t>129,4% к 2014 году </a:t>
          </a:r>
        </a:p>
      </dgm:t>
    </dgm:pt>
    <dgm:pt modelId="{4E8250EA-5B1F-4DB0-9718-3EA1B8ED7147}" type="parTrans" cxnId="{0DE2DD1E-3776-4A51-BBF2-11AAEC295BB4}">
      <dgm:prSet/>
      <dgm:spPr/>
      <dgm:t>
        <a:bodyPr/>
        <a:lstStyle/>
        <a:p>
          <a:endParaRPr lang="ru-RU"/>
        </a:p>
      </dgm:t>
    </dgm:pt>
    <dgm:pt modelId="{941A0CCD-A9BA-42B0-851D-BD280184944E}" type="sibTrans" cxnId="{0DE2DD1E-3776-4A51-BBF2-11AAEC295BB4}">
      <dgm:prSet/>
      <dgm:spPr/>
      <dgm:t>
        <a:bodyPr/>
        <a:lstStyle/>
        <a:p>
          <a:endParaRPr lang="ru-RU"/>
        </a:p>
      </dgm:t>
    </dgm:pt>
    <dgm:pt modelId="{CBD0DA99-DD2A-4B8B-AFB0-9AB7E06BAC6A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Прибыль прибыльных  предприятий - 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solidFill>
                <a:srgbClr val="3399FF"/>
              </a:solidFill>
              <a:latin typeface="Times New Roman" pitchFamily="18" charset="0"/>
              <a:cs typeface="Times New Roman" pitchFamily="18" charset="0"/>
            </a:rPr>
            <a:t>в 1,7 раза к 2014 году</a:t>
          </a:r>
        </a:p>
      </dgm:t>
    </dgm:pt>
    <dgm:pt modelId="{030B8BBA-2AF8-4B77-859A-8014DA732107}" type="parTrans" cxnId="{966373DB-F7C5-49C7-968B-6F0C48DB8D64}">
      <dgm:prSet/>
      <dgm:spPr/>
      <dgm:t>
        <a:bodyPr/>
        <a:lstStyle/>
        <a:p>
          <a:endParaRPr lang="ru-RU"/>
        </a:p>
      </dgm:t>
    </dgm:pt>
    <dgm:pt modelId="{3B00FCE2-9CC3-4513-8CDF-16D81C39E457}" type="sibTrans" cxnId="{966373DB-F7C5-49C7-968B-6F0C48DB8D64}">
      <dgm:prSet/>
      <dgm:spPr/>
      <dgm:t>
        <a:bodyPr/>
        <a:lstStyle/>
        <a:p>
          <a:endParaRPr lang="ru-RU"/>
        </a:p>
      </dgm:t>
    </dgm:pt>
    <dgm:pt modelId="{D6714DAD-DC72-4926-BE6E-187EF38E2B82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Оборот розничной торговли - 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solidFill>
                <a:srgbClr val="3399FF"/>
              </a:solidFill>
              <a:latin typeface="Times New Roman" pitchFamily="18" charset="0"/>
              <a:cs typeface="Times New Roman" pitchFamily="18" charset="0"/>
            </a:rPr>
            <a:t>105,0% к 2014 году</a:t>
          </a:r>
        </a:p>
      </dgm:t>
    </dgm:pt>
    <dgm:pt modelId="{641C6671-EC9B-4723-9345-BC7D486A0744}" type="sibTrans" cxnId="{F8ACE373-2A51-4C64-8649-054B9200C19B}">
      <dgm:prSet/>
      <dgm:spPr/>
      <dgm:t>
        <a:bodyPr/>
        <a:lstStyle/>
        <a:p>
          <a:endParaRPr lang="ru-RU"/>
        </a:p>
      </dgm:t>
    </dgm:pt>
    <dgm:pt modelId="{739671D0-7B49-4F9B-96BC-2C3ACFBE0ED0}" type="parTrans" cxnId="{F8ACE373-2A51-4C64-8649-054B9200C19B}">
      <dgm:prSet/>
      <dgm:spPr/>
      <dgm:t>
        <a:bodyPr/>
        <a:lstStyle/>
        <a:p>
          <a:endParaRPr lang="ru-RU"/>
        </a:p>
      </dgm:t>
    </dgm:pt>
    <dgm:pt modelId="{EE1D7FB7-ABAC-497A-A539-9B94A75AFBE8}">
      <dgm:prSet custT="1"/>
      <dgm:spPr/>
      <dgm:t>
        <a:bodyPr/>
        <a:lstStyle/>
        <a:p>
          <a:pPr rtl="0">
            <a:lnSpc>
              <a:spcPct val="90000"/>
            </a:lnSpc>
            <a:spcAft>
              <a:spcPts val="0"/>
            </a:spcAft>
          </a:pPr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Добыча золота - 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solidFill>
                <a:srgbClr val="3399FF"/>
              </a:solidFill>
              <a:latin typeface="Times New Roman" pitchFamily="18" charset="0"/>
              <a:cs typeface="Times New Roman" pitchFamily="18" charset="0"/>
            </a:rPr>
            <a:t>100,4% к 2014 году</a:t>
          </a:r>
        </a:p>
      </dgm:t>
    </dgm:pt>
    <dgm:pt modelId="{5A529514-4CB7-4F2F-B0C5-446197AEDF17}" type="parTrans" cxnId="{83D2923B-4636-4871-A0BF-23C890AF789D}">
      <dgm:prSet/>
      <dgm:spPr/>
      <dgm:t>
        <a:bodyPr/>
        <a:lstStyle/>
        <a:p>
          <a:endParaRPr lang="ru-RU"/>
        </a:p>
      </dgm:t>
    </dgm:pt>
    <dgm:pt modelId="{B497CD48-7FE0-4B2F-AEBB-E707B4523771}" type="sibTrans" cxnId="{83D2923B-4636-4871-A0BF-23C890AF789D}">
      <dgm:prSet/>
      <dgm:spPr/>
      <dgm:t>
        <a:bodyPr/>
        <a:lstStyle/>
        <a:p>
          <a:endParaRPr lang="ru-RU"/>
        </a:p>
      </dgm:t>
    </dgm:pt>
    <dgm:pt modelId="{F6E2E605-3892-442E-9FD7-998ED2E9ADD4}" type="pres">
      <dgm:prSet presAssocID="{13868ED9-4086-41D1-94E9-EC2DDBEFA955}" presName="compositeShape" presStyleCnt="0">
        <dgm:presLayoutVars>
          <dgm:dir/>
          <dgm:resizeHandles/>
        </dgm:presLayoutVars>
      </dgm:prSet>
      <dgm:spPr/>
      <dgm:t>
        <a:bodyPr/>
        <a:lstStyle/>
        <a:p>
          <a:endParaRPr lang="ru-RU"/>
        </a:p>
      </dgm:t>
    </dgm:pt>
    <dgm:pt modelId="{FA33900E-42DD-4737-9A12-923D83C7A13B}" type="pres">
      <dgm:prSet presAssocID="{13868ED9-4086-41D1-94E9-EC2DDBEFA955}" presName="pyramid" presStyleLbl="node1" presStyleIdx="0" presStyleCnt="1" custScaleX="83196" custLinFactNeighborX="33503"/>
      <dgm:spPr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endParaRPr lang="ru-RU"/>
        </a:p>
      </dgm:t>
    </dgm:pt>
    <dgm:pt modelId="{EE872ACF-AE76-46A7-AB8F-2E644288C58B}" type="pres">
      <dgm:prSet presAssocID="{13868ED9-4086-41D1-94E9-EC2DDBEFA955}" presName="theList" presStyleCnt="0"/>
      <dgm:spPr/>
      <dgm:t>
        <a:bodyPr/>
        <a:lstStyle/>
        <a:p>
          <a:endParaRPr lang="ru-RU"/>
        </a:p>
      </dgm:t>
    </dgm:pt>
    <dgm:pt modelId="{5FFA34CB-99FB-462A-9533-068DD19BE259}" type="pres">
      <dgm:prSet presAssocID="{FDD48968-8453-4EF2-BFA9-B1A58B2C80CF}" presName="aNode" presStyleLbl="fgAcc1" presStyleIdx="0" presStyleCnt="7" custScaleX="193057" custScaleY="79950" custLinFactY="39802" custLinFactNeighborX="1259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6D713C9-8C05-4379-83FD-31B8D51266CF}" type="pres">
      <dgm:prSet presAssocID="{FDD48968-8453-4EF2-BFA9-B1A58B2C80CF}" presName="aSpace" presStyleCnt="0"/>
      <dgm:spPr/>
      <dgm:t>
        <a:bodyPr/>
        <a:lstStyle/>
        <a:p>
          <a:endParaRPr lang="ru-RU"/>
        </a:p>
      </dgm:t>
    </dgm:pt>
    <dgm:pt modelId="{FF0BC612-C966-4931-AB83-8582E2C1F38F}" type="pres">
      <dgm:prSet presAssocID="{EE1D7FB7-ABAC-497A-A539-9B94A75AFBE8}" presName="aNode" presStyleLbl="fgAcc1" presStyleIdx="1" presStyleCnt="7" custScaleX="193057" custScaleY="79950" custLinFactY="-120747" custLinFactNeighborX="1259" custLinFactNeighborY="-2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9B104D-32BA-4BB8-B1F1-D0AE2B22C776}" type="pres">
      <dgm:prSet presAssocID="{EE1D7FB7-ABAC-497A-A539-9B94A75AFBE8}" presName="aSpace" presStyleCnt="0"/>
      <dgm:spPr/>
    </dgm:pt>
    <dgm:pt modelId="{A4D55151-B3DE-448E-8DF5-C7E2E17D5A5A}" type="pres">
      <dgm:prSet presAssocID="{E55FCF31-DCEE-4AE8-8333-6B2F56E1BDC6}" presName="aNode" presStyleLbl="fgAcc1" presStyleIdx="2" presStyleCnt="7" custScaleX="193057" custScaleY="79950" custLinFactY="-8326" custLinFactNeighborX="1259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CE9B282-DCAF-423C-8A52-83283E5B7FA6}" type="pres">
      <dgm:prSet presAssocID="{E55FCF31-DCEE-4AE8-8333-6B2F56E1BDC6}" presName="aSpace" presStyleCnt="0"/>
      <dgm:spPr/>
      <dgm:t>
        <a:bodyPr/>
        <a:lstStyle/>
        <a:p>
          <a:endParaRPr lang="ru-RU"/>
        </a:p>
      </dgm:t>
    </dgm:pt>
    <dgm:pt modelId="{CDAEDC43-688B-4282-ADD2-BF6C79A5F213}" type="pres">
      <dgm:prSet presAssocID="{CBD0DA99-DD2A-4B8B-AFB0-9AB7E06BAC6A}" presName="aNode" presStyleLbl="fgAcc1" presStyleIdx="3" presStyleCnt="7" custScaleX="193057" custScaleY="79950" custLinFactNeighborX="1259" custLinFactNeighborY="-3920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F9033D-804F-457A-A772-3918464BA552}" type="pres">
      <dgm:prSet presAssocID="{CBD0DA99-DD2A-4B8B-AFB0-9AB7E06BAC6A}" presName="aSpace" presStyleCnt="0"/>
      <dgm:spPr/>
      <dgm:t>
        <a:bodyPr/>
        <a:lstStyle/>
        <a:p>
          <a:endParaRPr lang="ru-RU"/>
        </a:p>
      </dgm:t>
    </dgm:pt>
    <dgm:pt modelId="{C7E38674-45FC-403F-BD54-3E937B83E449}" type="pres">
      <dgm:prSet presAssocID="{13125AC7-1323-4E92-8951-02959970F87B}" presName="aNode" presStyleLbl="fgAcc1" presStyleIdx="4" presStyleCnt="7" custScaleX="193408" custScaleY="78490" custLinFactNeighborX="1259" custLinFactNeighborY="8820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DE0E8-6206-47D5-AF0A-A2B08957DA29}" type="pres">
      <dgm:prSet presAssocID="{13125AC7-1323-4E92-8951-02959970F87B}" presName="aSpace" presStyleCnt="0"/>
      <dgm:spPr/>
      <dgm:t>
        <a:bodyPr/>
        <a:lstStyle/>
        <a:p>
          <a:endParaRPr lang="ru-RU"/>
        </a:p>
      </dgm:t>
    </dgm:pt>
    <dgm:pt modelId="{213BC633-BEFD-4BA0-9037-0C8931263F93}" type="pres">
      <dgm:prSet presAssocID="{05EFF6B2-8349-4CD6-9ED0-D753039D4842}" presName="aNode" presStyleLbl="fgAcc1" presStyleIdx="5" presStyleCnt="7" custScaleX="192982" custScaleY="82825" custLinFactY="102756" custLinFactNeighborX="1259" custLinFactNeighborY="2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8C52183-7A13-4629-83B7-7BFA230009DB}" type="pres">
      <dgm:prSet presAssocID="{05EFF6B2-8349-4CD6-9ED0-D753039D4842}" presName="aSpace" presStyleCnt="0"/>
      <dgm:spPr/>
      <dgm:t>
        <a:bodyPr/>
        <a:lstStyle/>
        <a:p>
          <a:endParaRPr lang="ru-RU"/>
        </a:p>
      </dgm:t>
    </dgm:pt>
    <dgm:pt modelId="{9D5CEAE1-315D-4257-AAF8-6E38C44C7556}" type="pres">
      <dgm:prSet presAssocID="{D6714DAD-DC72-4926-BE6E-187EF38E2B82}" presName="aNode" presStyleLbl="fgAcc1" presStyleIdx="6" presStyleCnt="7" custScaleX="192982" custScaleY="67273" custLinFactY="-54414" custLinFactNeighborX="1259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8C87BAF-C6BF-42B5-82F0-9EFD1CC26BEC}" type="pres">
      <dgm:prSet presAssocID="{D6714DAD-DC72-4926-BE6E-187EF38E2B82}" presName="aSpace" presStyleCnt="0"/>
      <dgm:spPr/>
      <dgm:t>
        <a:bodyPr/>
        <a:lstStyle/>
        <a:p>
          <a:endParaRPr lang="ru-RU"/>
        </a:p>
      </dgm:t>
    </dgm:pt>
  </dgm:ptLst>
  <dgm:cxnLst>
    <dgm:cxn modelId="{0DE2DD1E-3776-4A51-BBF2-11AAEC295BB4}" srcId="{13868ED9-4086-41D1-94E9-EC2DDBEFA955}" destId="{E55FCF31-DCEE-4AE8-8333-6B2F56E1BDC6}" srcOrd="2" destOrd="0" parTransId="{4E8250EA-5B1F-4DB0-9718-3EA1B8ED7147}" sibTransId="{941A0CCD-A9BA-42B0-851D-BD280184944E}"/>
    <dgm:cxn modelId="{966373DB-F7C5-49C7-968B-6F0C48DB8D64}" srcId="{13868ED9-4086-41D1-94E9-EC2DDBEFA955}" destId="{CBD0DA99-DD2A-4B8B-AFB0-9AB7E06BAC6A}" srcOrd="3" destOrd="0" parTransId="{030B8BBA-2AF8-4B77-859A-8014DA732107}" sibTransId="{3B00FCE2-9CC3-4513-8CDF-16D81C39E457}"/>
    <dgm:cxn modelId="{556A5E93-2766-4B61-969A-AB6FF9ED686E}" type="presOf" srcId="{CBD0DA99-DD2A-4B8B-AFB0-9AB7E06BAC6A}" destId="{CDAEDC43-688B-4282-ADD2-BF6C79A5F213}" srcOrd="0" destOrd="0" presId="urn:microsoft.com/office/officeart/2005/8/layout/pyramid2"/>
    <dgm:cxn modelId="{91258C07-EBDF-4B35-8A4D-6E879F67D0BE}" type="presOf" srcId="{D6714DAD-DC72-4926-BE6E-187EF38E2B82}" destId="{9D5CEAE1-315D-4257-AAF8-6E38C44C7556}" srcOrd="0" destOrd="0" presId="urn:microsoft.com/office/officeart/2005/8/layout/pyramid2"/>
    <dgm:cxn modelId="{41588F9F-F104-4F04-A5ED-48216FC9652B}" srcId="{13868ED9-4086-41D1-94E9-EC2DDBEFA955}" destId="{05EFF6B2-8349-4CD6-9ED0-D753039D4842}" srcOrd="5" destOrd="0" parTransId="{7541DF26-B737-42CF-819D-FCA8FD46F812}" sibTransId="{2CD399B4-4CB7-4067-BFDA-F1A4EAE92278}"/>
    <dgm:cxn modelId="{6094A680-1742-4046-A2F8-97F61D4AC370}" type="presOf" srcId="{13125AC7-1323-4E92-8951-02959970F87B}" destId="{C7E38674-45FC-403F-BD54-3E937B83E449}" srcOrd="0" destOrd="0" presId="urn:microsoft.com/office/officeart/2005/8/layout/pyramid2"/>
    <dgm:cxn modelId="{5520B060-5320-47DD-A074-CA01572A3725}" type="presOf" srcId="{E55FCF31-DCEE-4AE8-8333-6B2F56E1BDC6}" destId="{A4D55151-B3DE-448E-8DF5-C7E2E17D5A5A}" srcOrd="0" destOrd="0" presId="urn:microsoft.com/office/officeart/2005/8/layout/pyramid2"/>
    <dgm:cxn modelId="{235E6094-5252-4DDA-B32C-35EFEB2F40BE}" type="presOf" srcId="{13868ED9-4086-41D1-94E9-EC2DDBEFA955}" destId="{F6E2E605-3892-442E-9FD7-998ED2E9ADD4}" srcOrd="0" destOrd="0" presId="urn:microsoft.com/office/officeart/2005/8/layout/pyramid2"/>
    <dgm:cxn modelId="{7D9FF153-B56A-4851-95C1-F7EA53CFC267}" type="presOf" srcId="{05EFF6B2-8349-4CD6-9ED0-D753039D4842}" destId="{213BC633-BEFD-4BA0-9037-0C8931263F93}" srcOrd="0" destOrd="0" presId="urn:microsoft.com/office/officeart/2005/8/layout/pyramid2"/>
    <dgm:cxn modelId="{285A5162-F578-4A64-AB51-C6D2EFDF69B9}" srcId="{13868ED9-4086-41D1-94E9-EC2DDBEFA955}" destId="{13125AC7-1323-4E92-8951-02959970F87B}" srcOrd="4" destOrd="0" parTransId="{CC17F6EB-895E-41B7-882B-E3DCFB66925A}" sibTransId="{014E901E-0CF0-4B6B-AA25-3B3D7C088C60}"/>
    <dgm:cxn modelId="{679501FC-E75B-4A2D-A889-DF131444A1B6}" type="presOf" srcId="{FDD48968-8453-4EF2-BFA9-B1A58B2C80CF}" destId="{5FFA34CB-99FB-462A-9533-068DD19BE259}" srcOrd="0" destOrd="0" presId="urn:microsoft.com/office/officeart/2005/8/layout/pyramid2"/>
    <dgm:cxn modelId="{DD951ADE-7901-4AED-BF00-84702FCDEF57}" type="presOf" srcId="{EE1D7FB7-ABAC-497A-A539-9B94A75AFBE8}" destId="{FF0BC612-C966-4931-AB83-8582E2C1F38F}" srcOrd="0" destOrd="0" presId="urn:microsoft.com/office/officeart/2005/8/layout/pyramid2"/>
    <dgm:cxn modelId="{83D2923B-4636-4871-A0BF-23C890AF789D}" srcId="{13868ED9-4086-41D1-94E9-EC2DDBEFA955}" destId="{EE1D7FB7-ABAC-497A-A539-9B94A75AFBE8}" srcOrd="1" destOrd="0" parTransId="{5A529514-4CB7-4F2F-B0C5-446197AEDF17}" sibTransId="{B497CD48-7FE0-4B2F-AEBB-E707B4523771}"/>
    <dgm:cxn modelId="{06BBAC9A-B0CD-4786-B7A1-C6DE038F4F4F}" srcId="{13868ED9-4086-41D1-94E9-EC2DDBEFA955}" destId="{FDD48968-8453-4EF2-BFA9-B1A58B2C80CF}" srcOrd="0" destOrd="0" parTransId="{D1422C3F-4BD8-4CB4-A0C6-3E37C22D488B}" sibTransId="{7EACB796-0386-401F-9F2E-6D0FCCA23132}"/>
    <dgm:cxn modelId="{F8ACE373-2A51-4C64-8649-054B9200C19B}" srcId="{13868ED9-4086-41D1-94E9-EC2DDBEFA955}" destId="{D6714DAD-DC72-4926-BE6E-187EF38E2B82}" srcOrd="6" destOrd="0" parTransId="{739671D0-7B49-4F9B-96BC-2C3ACFBE0ED0}" sibTransId="{641C6671-EC9B-4723-9345-BC7D486A0744}"/>
    <dgm:cxn modelId="{2C19DEA7-192E-46B2-A215-2FDA43F09AE0}" type="presParOf" srcId="{F6E2E605-3892-442E-9FD7-998ED2E9ADD4}" destId="{FA33900E-42DD-4737-9A12-923D83C7A13B}" srcOrd="0" destOrd="0" presId="urn:microsoft.com/office/officeart/2005/8/layout/pyramid2"/>
    <dgm:cxn modelId="{062F35DA-659B-437D-9E41-3D970F4F1CAA}" type="presParOf" srcId="{F6E2E605-3892-442E-9FD7-998ED2E9ADD4}" destId="{EE872ACF-AE76-46A7-AB8F-2E644288C58B}" srcOrd="1" destOrd="0" presId="urn:microsoft.com/office/officeart/2005/8/layout/pyramid2"/>
    <dgm:cxn modelId="{6B561A1D-8E1A-4502-9089-158D52A4C5B8}" type="presParOf" srcId="{EE872ACF-AE76-46A7-AB8F-2E644288C58B}" destId="{5FFA34CB-99FB-462A-9533-068DD19BE259}" srcOrd="0" destOrd="0" presId="urn:microsoft.com/office/officeart/2005/8/layout/pyramid2"/>
    <dgm:cxn modelId="{AEEE2C72-E06B-409E-B1B2-B61580613A2F}" type="presParOf" srcId="{EE872ACF-AE76-46A7-AB8F-2E644288C58B}" destId="{76D713C9-8C05-4379-83FD-31B8D51266CF}" srcOrd="1" destOrd="0" presId="urn:microsoft.com/office/officeart/2005/8/layout/pyramid2"/>
    <dgm:cxn modelId="{3C15B24F-A905-4A2B-9F15-2318F2D78C1B}" type="presParOf" srcId="{EE872ACF-AE76-46A7-AB8F-2E644288C58B}" destId="{FF0BC612-C966-4931-AB83-8582E2C1F38F}" srcOrd="2" destOrd="0" presId="urn:microsoft.com/office/officeart/2005/8/layout/pyramid2"/>
    <dgm:cxn modelId="{690076AE-808E-4027-B1CE-39A6BD54A98E}" type="presParOf" srcId="{EE872ACF-AE76-46A7-AB8F-2E644288C58B}" destId="{C29B104D-32BA-4BB8-B1F1-D0AE2B22C776}" srcOrd="3" destOrd="0" presId="urn:microsoft.com/office/officeart/2005/8/layout/pyramid2"/>
    <dgm:cxn modelId="{3AE7111C-A0C5-4F1B-A40B-ECD7292DA32A}" type="presParOf" srcId="{EE872ACF-AE76-46A7-AB8F-2E644288C58B}" destId="{A4D55151-B3DE-448E-8DF5-C7E2E17D5A5A}" srcOrd="4" destOrd="0" presId="urn:microsoft.com/office/officeart/2005/8/layout/pyramid2"/>
    <dgm:cxn modelId="{FF27DF3B-702D-4230-A4E4-F0899D0CB864}" type="presParOf" srcId="{EE872ACF-AE76-46A7-AB8F-2E644288C58B}" destId="{8CE9B282-DCAF-423C-8A52-83283E5B7FA6}" srcOrd="5" destOrd="0" presId="urn:microsoft.com/office/officeart/2005/8/layout/pyramid2"/>
    <dgm:cxn modelId="{6F62C2A5-9373-4050-BD6E-93102BF019A2}" type="presParOf" srcId="{EE872ACF-AE76-46A7-AB8F-2E644288C58B}" destId="{CDAEDC43-688B-4282-ADD2-BF6C79A5F213}" srcOrd="6" destOrd="0" presId="urn:microsoft.com/office/officeart/2005/8/layout/pyramid2"/>
    <dgm:cxn modelId="{3714444E-8685-48F6-B967-7974D709EE37}" type="presParOf" srcId="{EE872ACF-AE76-46A7-AB8F-2E644288C58B}" destId="{31F9033D-804F-457A-A772-3918464BA552}" srcOrd="7" destOrd="0" presId="urn:microsoft.com/office/officeart/2005/8/layout/pyramid2"/>
    <dgm:cxn modelId="{53CBC1A7-E967-463B-BF35-0C84BC4F0A34}" type="presParOf" srcId="{EE872ACF-AE76-46A7-AB8F-2E644288C58B}" destId="{C7E38674-45FC-403F-BD54-3E937B83E449}" srcOrd="8" destOrd="0" presId="urn:microsoft.com/office/officeart/2005/8/layout/pyramid2"/>
    <dgm:cxn modelId="{6D84C0D8-E40D-47A6-A1F8-D9DA8BE5FB38}" type="presParOf" srcId="{EE872ACF-AE76-46A7-AB8F-2E644288C58B}" destId="{4E6DE0E8-6206-47D5-AF0A-A2B08957DA29}" srcOrd="9" destOrd="0" presId="urn:microsoft.com/office/officeart/2005/8/layout/pyramid2"/>
    <dgm:cxn modelId="{9CB80BB0-B7ED-4CFF-843E-7F01B0FAE170}" type="presParOf" srcId="{EE872ACF-AE76-46A7-AB8F-2E644288C58B}" destId="{213BC633-BEFD-4BA0-9037-0C8931263F93}" srcOrd="10" destOrd="0" presId="urn:microsoft.com/office/officeart/2005/8/layout/pyramid2"/>
    <dgm:cxn modelId="{C10421A0-92AE-4706-A080-F9B90B86A3E9}" type="presParOf" srcId="{EE872ACF-AE76-46A7-AB8F-2E644288C58B}" destId="{68C52183-7A13-4629-83B7-7BFA230009DB}" srcOrd="11" destOrd="0" presId="urn:microsoft.com/office/officeart/2005/8/layout/pyramid2"/>
    <dgm:cxn modelId="{BAEC80D4-F1EE-4486-BA34-33B522E75C84}" type="presParOf" srcId="{EE872ACF-AE76-46A7-AB8F-2E644288C58B}" destId="{9D5CEAE1-315D-4257-AAF8-6E38C44C7556}" srcOrd="12" destOrd="0" presId="urn:microsoft.com/office/officeart/2005/8/layout/pyramid2"/>
    <dgm:cxn modelId="{16CC49DF-2960-4D23-8932-8F2CDD0855ED}" type="presParOf" srcId="{EE872ACF-AE76-46A7-AB8F-2E644288C58B}" destId="{48C87BAF-C6BF-42B5-82F0-9EFD1CC26BEC}" srcOrd="13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AB424EC-A04C-4458-B2DB-728D75E6D5D0}" type="doc">
      <dgm:prSet loTypeId="urn:microsoft.com/office/officeart/2005/8/layout/pyramid2" loCatId="pyramid" qsTypeId="urn:microsoft.com/office/officeart/2005/8/quickstyle/3d1" qsCatId="3D" csTypeId="urn:microsoft.com/office/officeart/2005/8/colors/accent1_2#2" csCatId="accent1" phldr="1"/>
      <dgm:spPr/>
      <dgm:t>
        <a:bodyPr/>
        <a:lstStyle/>
        <a:p>
          <a:endParaRPr lang="ru-RU"/>
        </a:p>
      </dgm:t>
    </dgm:pt>
    <dgm:pt modelId="{58246C5D-E7D5-48DA-BBA6-F4627720E333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Добыча угля - 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53,6% к 2014 году </a:t>
          </a:r>
        </a:p>
      </dgm:t>
    </dgm:pt>
    <dgm:pt modelId="{3F104443-26BA-4A13-A984-C0D992562259}" type="parTrans" cxnId="{FBAC150B-904E-4289-9E51-3FE3B40A8D75}">
      <dgm:prSet/>
      <dgm:spPr/>
      <dgm:t>
        <a:bodyPr/>
        <a:lstStyle/>
        <a:p>
          <a:endParaRPr lang="ru-RU"/>
        </a:p>
      </dgm:t>
    </dgm:pt>
    <dgm:pt modelId="{CCB9D7B8-8CED-4A7A-AD53-B7D861D0CEB4}" type="sibTrans" cxnId="{FBAC150B-904E-4289-9E51-3FE3B40A8D75}">
      <dgm:prSet/>
      <dgm:spPr/>
      <dgm:t>
        <a:bodyPr/>
        <a:lstStyle/>
        <a:p>
          <a:endParaRPr lang="ru-RU"/>
        </a:p>
      </dgm:t>
    </dgm:pt>
    <dgm:pt modelId="{5CD6E087-89CE-46E6-8755-16433A46EE14}">
      <dgm:prSet custT="1"/>
      <dgm:spPr/>
      <dgm:t>
        <a:bodyPr/>
        <a:lstStyle/>
        <a:p>
          <a:pPr rtl="0"/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Объем инвестиций в основной капитал - </a:t>
          </a:r>
          <a:r>
            <a:rPr lang="ru-RU" sz="14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90,1% к 2014 году</a:t>
          </a:r>
        </a:p>
      </dgm:t>
    </dgm:pt>
    <dgm:pt modelId="{1841F250-3719-4A27-BFFA-DCEC7286ED94}" type="parTrans" cxnId="{EB0E9F29-8AFF-44F0-B8BF-AA23D5E77EC3}">
      <dgm:prSet/>
      <dgm:spPr/>
      <dgm:t>
        <a:bodyPr/>
        <a:lstStyle/>
        <a:p>
          <a:endParaRPr lang="ru-RU"/>
        </a:p>
      </dgm:t>
    </dgm:pt>
    <dgm:pt modelId="{621F1C3D-FDA0-415F-BBF7-33067B9B244A}" type="sibTrans" cxnId="{EB0E9F29-8AFF-44F0-B8BF-AA23D5E77EC3}">
      <dgm:prSet/>
      <dgm:spPr/>
      <dgm:t>
        <a:bodyPr/>
        <a:lstStyle/>
        <a:p>
          <a:endParaRPr lang="ru-RU"/>
        </a:p>
      </dgm:t>
    </dgm:pt>
    <dgm:pt modelId="{E4D1EE88-657E-4DE4-AF26-4554968EA86F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Индекс потребительских цен - 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111,1% против 104,0% в 2014 году</a:t>
          </a:r>
        </a:p>
      </dgm:t>
    </dgm:pt>
    <dgm:pt modelId="{C040863A-821A-4CDF-830C-577FBAE62C4B}" type="parTrans" cxnId="{691823F8-B641-446B-BE9E-FC8330B907A5}">
      <dgm:prSet/>
      <dgm:spPr/>
      <dgm:t>
        <a:bodyPr/>
        <a:lstStyle/>
        <a:p>
          <a:endParaRPr lang="ru-RU"/>
        </a:p>
      </dgm:t>
    </dgm:pt>
    <dgm:pt modelId="{11CBDBAC-89CD-41CC-BA8B-E38E68E72950}" type="sibTrans" cxnId="{691823F8-B641-446B-BE9E-FC8330B907A5}">
      <dgm:prSet/>
      <dgm:spPr/>
      <dgm:t>
        <a:bodyPr/>
        <a:lstStyle/>
        <a:p>
          <a:endParaRPr lang="ru-RU"/>
        </a:p>
      </dgm:t>
    </dgm:pt>
    <dgm:pt modelId="{FB5A29FC-01A6-43B3-8C04-A62BA591C743}">
      <dgm:prSet custT="1"/>
      <dgm:spPr/>
      <dgm:t>
        <a:bodyPr/>
        <a:lstStyle/>
        <a:p>
          <a:pPr rtl="0"/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Уровень безработицы (по МОТ) -                                     </a:t>
          </a:r>
          <a:r>
            <a:rPr lang="ru-RU" sz="14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4,0% против 3,2% в 2014 году</a:t>
          </a:r>
        </a:p>
      </dgm:t>
    </dgm:pt>
    <dgm:pt modelId="{56CF39B9-FD69-4027-B0DF-730A674EB17C}" type="parTrans" cxnId="{9A9A01F3-38E0-414B-AF4E-4597CF139A0E}">
      <dgm:prSet/>
      <dgm:spPr/>
      <dgm:t>
        <a:bodyPr/>
        <a:lstStyle/>
        <a:p>
          <a:endParaRPr lang="ru-RU"/>
        </a:p>
      </dgm:t>
    </dgm:pt>
    <dgm:pt modelId="{F601CDD1-8698-4EFA-A13B-F490771A2848}" type="sibTrans" cxnId="{9A9A01F3-38E0-414B-AF4E-4597CF139A0E}">
      <dgm:prSet/>
      <dgm:spPr/>
      <dgm:t>
        <a:bodyPr/>
        <a:lstStyle/>
        <a:p>
          <a:endParaRPr lang="ru-RU"/>
        </a:p>
      </dgm:t>
    </dgm:pt>
    <dgm:pt modelId="{B98A7470-949C-48BD-AE78-3542AD98CD7A}">
      <dgm:prSet custT="1"/>
      <dgm:spPr/>
      <dgm:t>
        <a:bodyPr/>
        <a:lstStyle/>
        <a:p>
          <a:pPr rtl="0"/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Индекс промышленного производства - </a:t>
          </a:r>
          <a:r>
            <a:rPr lang="ru-RU" sz="14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85,8% к 2014 году</a:t>
          </a:r>
          <a:endParaRPr lang="ru-RU" sz="1400" dirty="0">
            <a:solidFill>
              <a:srgbClr val="FF0000"/>
            </a:solidFill>
            <a:latin typeface="Times New Roman" pitchFamily="18" charset="0"/>
            <a:cs typeface="Times New Roman" pitchFamily="18" charset="0"/>
          </a:endParaRPr>
        </a:p>
      </dgm:t>
    </dgm:pt>
    <dgm:pt modelId="{0101F65F-147E-4BD2-A78C-E332D3C468E8}" type="parTrans" cxnId="{DD282DAD-6861-49F8-A4BB-86FBBBBF5280}">
      <dgm:prSet/>
      <dgm:spPr/>
      <dgm:t>
        <a:bodyPr/>
        <a:lstStyle/>
        <a:p>
          <a:endParaRPr lang="ru-RU"/>
        </a:p>
      </dgm:t>
    </dgm:pt>
    <dgm:pt modelId="{A16ED25D-D2F6-4DAD-AB86-732227229F1E}" type="sibTrans" cxnId="{DD282DAD-6861-49F8-A4BB-86FBBBBF5280}">
      <dgm:prSet/>
      <dgm:spPr/>
      <dgm:t>
        <a:bodyPr/>
        <a:lstStyle/>
        <a:p>
          <a:endParaRPr lang="ru-RU"/>
        </a:p>
      </dgm:t>
    </dgm:pt>
    <dgm:pt modelId="{665D6DDD-DBB0-4292-A679-134F4DBA0AA9}">
      <dgm:prSet custT="1"/>
      <dgm:spPr/>
      <dgm:t>
        <a:bodyPr/>
        <a:lstStyle/>
        <a:p>
          <a:pPr rtl="0"/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Объем продукции сельского хозяйства - </a:t>
          </a:r>
          <a:r>
            <a:rPr lang="ru-RU" sz="14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85,2% к 2014 году</a:t>
          </a:r>
          <a:endParaRPr lang="ru-RU" sz="1400" dirty="0">
            <a:solidFill>
              <a:srgbClr val="FF0000"/>
            </a:solidFill>
            <a:latin typeface="Times New Roman" pitchFamily="18" charset="0"/>
            <a:cs typeface="Times New Roman" pitchFamily="18" charset="0"/>
          </a:endParaRPr>
        </a:p>
      </dgm:t>
    </dgm:pt>
    <dgm:pt modelId="{615C6871-25D1-48F5-AA0C-65002E2D37E8}" type="parTrans" cxnId="{18C7E36F-3CBF-4E13-9A31-C398454A332D}">
      <dgm:prSet/>
      <dgm:spPr/>
      <dgm:t>
        <a:bodyPr/>
        <a:lstStyle/>
        <a:p>
          <a:endParaRPr lang="ru-RU"/>
        </a:p>
      </dgm:t>
    </dgm:pt>
    <dgm:pt modelId="{BCB39BB0-125C-4038-B13A-15F42E74E32D}" type="sibTrans" cxnId="{18C7E36F-3CBF-4E13-9A31-C398454A332D}">
      <dgm:prSet/>
      <dgm:spPr/>
      <dgm:t>
        <a:bodyPr/>
        <a:lstStyle/>
        <a:p>
          <a:endParaRPr lang="ru-RU"/>
        </a:p>
      </dgm:t>
    </dgm:pt>
    <dgm:pt modelId="{113B2154-DE76-4305-87AA-2E2EE4DE5CD8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Реальная заработная плата - 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95,2% к 2014 году</a:t>
          </a:r>
        </a:p>
      </dgm:t>
    </dgm:pt>
    <dgm:pt modelId="{57CFAC46-45F6-4A55-8334-639E25F93211}" type="parTrans" cxnId="{D2B5D4DE-1770-4DB4-AD70-8E9FA8AA0C0C}">
      <dgm:prSet/>
      <dgm:spPr/>
      <dgm:t>
        <a:bodyPr/>
        <a:lstStyle/>
        <a:p>
          <a:endParaRPr lang="ru-RU"/>
        </a:p>
      </dgm:t>
    </dgm:pt>
    <dgm:pt modelId="{A6A41CFB-C24F-43C3-B9A0-5C61FBBFF54D}" type="sibTrans" cxnId="{D2B5D4DE-1770-4DB4-AD70-8E9FA8AA0C0C}">
      <dgm:prSet/>
      <dgm:spPr/>
      <dgm:t>
        <a:bodyPr/>
        <a:lstStyle/>
        <a:p>
          <a:endParaRPr lang="ru-RU"/>
        </a:p>
      </dgm:t>
    </dgm:pt>
    <dgm:pt modelId="{9785FFD5-D4B0-4D4F-828F-F98C56275D5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latin typeface="Times New Roman" pitchFamily="18" charset="0"/>
              <a:cs typeface="Times New Roman" pitchFamily="18" charset="0"/>
            </a:rPr>
            <a:t>Реальный размер пенсий - 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98,4% к 2014 году</a:t>
          </a:r>
        </a:p>
      </dgm:t>
    </dgm:pt>
    <dgm:pt modelId="{D1C9FE8B-A45A-47E1-BBFE-996FFE8855E4}" type="parTrans" cxnId="{DB001916-D335-4C97-ADA1-996104F98F54}">
      <dgm:prSet/>
      <dgm:spPr/>
      <dgm:t>
        <a:bodyPr/>
        <a:lstStyle/>
        <a:p>
          <a:endParaRPr lang="ru-RU"/>
        </a:p>
      </dgm:t>
    </dgm:pt>
    <dgm:pt modelId="{F37A6E76-9D4E-4E50-BBC7-EA2E6DFE1069}" type="sibTrans" cxnId="{DB001916-D335-4C97-ADA1-996104F98F54}">
      <dgm:prSet/>
      <dgm:spPr/>
      <dgm:t>
        <a:bodyPr/>
        <a:lstStyle/>
        <a:p>
          <a:endParaRPr lang="ru-RU"/>
        </a:p>
      </dgm:t>
    </dgm:pt>
    <dgm:pt modelId="{8F37A3CC-6E47-4A7B-A6DC-5F2A9C531CAB}" type="pres">
      <dgm:prSet presAssocID="{8AB424EC-A04C-4458-B2DB-728D75E6D5D0}" presName="compositeShape" presStyleCnt="0">
        <dgm:presLayoutVars>
          <dgm:dir/>
          <dgm:resizeHandles/>
        </dgm:presLayoutVars>
      </dgm:prSet>
      <dgm:spPr/>
      <dgm:t>
        <a:bodyPr/>
        <a:lstStyle/>
        <a:p>
          <a:endParaRPr lang="ru-RU"/>
        </a:p>
      </dgm:t>
    </dgm:pt>
    <dgm:pt modelId="{2DB44DBA-C079-4EDE-915F-66131851EB77}" type="pres">
      <dgm:prSet presAssocID="{8AB424EC-A04C-4458-B2DB-728D75E6D5D0}" presName="pyramid" presStyleLbl="node1" presStyleIdx="0" presStyleCnt="1" custAng="10800000" custScaleX="87914" custLinFactNeighborX="32106" custLinFactNeighborY="168"/>
      <dgm:spPr/>
      <dgm:t>
        <a:bodyPr/>
        <a:lstStyle/>
        <a:p>
          <a:endParaRPr lang="ru-RU"/>
        </a:p>
      </dgm:t>
    </dgm:pt>
    <dgm:pt modelId="{F2179FCF-6395-4745-B90C-FA593C32B616}" type="pres">
      <dgm:prSet presAssocID="{8AB424EC-A04C-4458-B2DB-728D75E6D5D0}" presName="theList" presStyleCnt="0"/>
      <dgm:spPr/>
      <dgm:t>
        <a:bodyPr/>
        <a:lstStyle/>
        <a:p>
          <a:endParaRPr lang="ru-RU"/>
        </a:p>
      </dgm:t>
    </dgm:pt>
    <dgm:pt modelId="{E050ED67-5EBB-4A7B-AEB3-54DFBE0A8DB5}" type="pres">
      <dgm:prSet presAssocID="{58246C5D-E7D5-48DA-BBA6-F4627720E333}" presName="aNode" presStyleLbl="fgAcc1" presStyleIdx="0" presStyleCnt="8" custScaleX="197045" custScaleY="118861" custLinFactY="192893" custLinFactNeighborX="-7143" custLinFactNeighborY="2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F11B25F-B744-46AA-9C78-787CADBD9897}" type="pres">
      <dgm:prSet presAssocID="{58246C5D-E7D5-48DA-BBA6-F4627720E333}" presName="aSpace" presStyleCnt="0"/>
      <dgm:spPr/>
      <dgm:t>
        <a:bodyPr/>
        <a:lstStyle/>
        <a:p>
          <a:endParaRPr lang="ru-RU"/>
        </a:p>
      </dgm:t>
    </dgm:pt>
    <dgm:pt modelId="{5D374AB3-2365-4B3C-B7E5-3482A08BEA17}" type="pres">
      <dgm:prSet presAssocID="{5CD6E087-89CE-46E6-8755-16433A46EE14}" presName="aNode" presStyleLbl="fgAcc1" presStyleIdx="1" presStyleCnt="8" custScaleX="195951" custScaleY="108354" custLinFactY="201859" custLinFactNeighborX="-3750" custLinFactNeighborY="3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1F1B46A-34F8-4489-994E-7FB47780E518}" type="pres">
      <dgm:prSet presAssocID="{5CD6E087-89CE-46E6-8755-16433A46EE14}" presName="aSpace" presStyleCnt="0"/>
      <dgm:spPr/>
      <dgm:t>
        <a:bodyPr/>
        <a:lstStyle/>
        <a:p>
          <a:endParaRPr lang="ru-RU"/>
        </a:p>
      </dgm:t>
    </dgm:pt>
    <dgm:pt modelId="{67417126-47FE-431D-B9B3-CC92DDEECB5E}" type="pres">
      <dgm:prSet presAssocID="{E4D1EE88-657E-4DE4-AF26-4554968EA86F}" presName="aNode" presStyleLbl="fgAcc1" presStyleIdx="2" presStyleCnt="8" custScaleX="195913" custScaleY="129923" custLinFactY="659226" custLinFactNeighborX="-4264" custLinFactNeighborY="7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6C3A6DD-FA7D-49F1-90A5-DF721AD3385E}" type="pres">
      <dgm:prSet presAssocID="{E4D1EE88-657E-4DE4-AF26-4554968EA86F}" presName="aSpace" presStyleCnt="0"/>
      <dgm:spPr/>
      <dgm:t>
        <a:bodyPr/>
        <a:lstStyle/>
        <a:p>
          <a:endParaRPr lang="ru-RU"/>
        </a:p>
      </dgm:t>
    </dgm:pt>
    <dgm:pt modelId="{3030D4D6-4294-4491-ABE9-FFC310FC9381}" type="pres">
      <dgm:prSet presAssocID="{FB5A29FC-01A6-43B3-8C04-A62BA591C743}" presName="aNode" presStyleLbl="fgAcc1" presStyleIdx="3" presStyleCnt="8" custScaleX="195918" custScaleY="124587" custLinFactY="384513" custLinFactNeighborX="-4017" custLinFactNeighborY="4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06EA0C-4423-414F-97C4-55C051C9F34C}" type="pres">
      <dgm:prSet presAssocID="{FB5A29FC-01A6-43B3-8C04-A62BA591C743}" presName="aSpace" presStyleCnt="0"/>
      <dgm:spPr/>
      <dgm:t>
        <a:bodyPr/>
        <a:lstStyle/>
        <a:p>
          <a:endParaRPr lang="ru-RU"/>
        </a:p>
      </dgm:t>
    </dgm:pt>
    <dgm:pt modelId="{0A050F5A-EB99-4BE9-A2E5-71DD72637501}" type="pres">
      <dgm:prSet presAssocID="{B98A7470-949C-48BD-AE78-3542AD98CD7A}" presName="aNode" presStyleLbl="fgAcc1" presStyleIdx="4" presStyleCnt="8" custScaleX="194530" custScaleY="106713" custLinFactY="-546901" custLinFactNeighborX="-3961" custLinFactNeighborY="-6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EA5938B-5BA1-4A9E-84A0-4571131D9D44}" type="pres">
      <dgm:prSet presAssocID="{B98A7470-949C-48BD-AE78-3542AD98CD7A}" presName="aSpace" presStyleCnt="0"/>
      <dgm:spPr/>
      <dgm:t>
        <a:bodyPr/>
        <a:lstStyle/>
        <a:p>
          <a:endParaRPr lang="ru-RU"/>
        </a:p>
      </dgm:t>
    </dgm:pt>
    <dgm:pt modelId="{4CBEB71F-E500-4CBE-A789-1CF21B9AFBAD}" type="pres">
      <dgm:prSet presAssocID="{665D6DDD-DBB0-4292-A679-134F4DBA0AA9}" presName="aNode" presStyleLbl="fgAcc1" presStyleIdx="5" presStyleCnt="8" custScaleX="192511" custScaleY="126006" custLinFactY="-525806" custLinFactNeighborX="-5779" custLinFactNeighborY="-6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9F3ABB-4BCD-4050-8EAB-3F69327F9248}" type="pres">
      <dgm:prSet presAssocID="{665D6DDD-DBB0-4292-A679-134F4DBA0AA9}" presName="aSpace" presStyleCnt="0"/>
      <dgm:spPr/>
      <dgm:t>
        <a:bodyPr/>
        <a:lstStyle/>
        <a:p>
          <a:endParaRPr lang="ru-RU"/>
        </a:p>
      </dgm:t>
    </dgm:pt>
    <dgm:pt modelId="{F5575008-0A22-47C3-84DC-CA046FE53FD8}" type="pres">
      <dgm:prSet presAssocID="{113B2154-DE76-4305-87AA-2E2EE4DE5CD8}" presName="aNode" presStyleLbl="fgAcc1" presStyleIdx="6" presStyleCnt="8" custScaleX="193291" custScaleY="116221" custLinFactY="-228414" custLinFactNeighborX="-5080" custLinFactNeighborY="-3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9639E00-1BD8-4E94-BF08-93F5BB3AD3C3}" type="pres">
      <dgm:prSet presAssocID="{113B2154-DE76-4305-87AA-2E2EE4DE5CD8}" presName="aSpace" presStyleCnt="0"/>
      <dgm:spPr/>
      <dgm:t>
        <a:bodyPr/>
        <a:lstStyle/>
        <a:p>
          <a:endParaRPr lang="ru-RU"/>
        </a:p>
      </dgm:t>
    </dgm:pt>
    <dgm:pt modelId="{0EEAE7BB-3F75-41D4-96C0-061BEE98D53B}" type="pres">
      <dgm:prSet presAssocID="{9785FFD5-D4B0-4D4F-828F-F98C56275D51}" presName="aNode" presStyleLbl="fgAcc1" presStyleIdx="7" presStyleCnt="8" custScaleX="193408" custScaleY="107421" custLinFactY="-204324" custLinFactNeighborX="-5021" custLinFactNeighborY="-3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7CE2F1-3DA8-40BD-83CE-D5F079A51078}" type="pres">
      <dgm:prSet presAssocID="{9785FFD5-D4B0-4D4F-828F-F98C56275D51}" presName="aSpace" presStyleCnt="0"/>
      <dgm:spPr/>
      <dgm:t>
        <a:bodyPr/>
        <a:lstStyle/>
        <a:p>
          <a:endParaRPr lang="ru-RU"/>
        </a:p>
      </dgm:t>
    </dgm:pt>
  </dgm:ptLst>
  <dgm:cxnLst>
    <dgm:cxn modelId="{18C7E36F-3CBF-4E13-9A31-C398454A332D}" srcId="{8AB424EC-A04C-4458-B2DB-728D75E6D5D0}" destId="{665D6DDD-DBB0-4292-A679-134F4DBA0AA9}" srcOrd="5" destOrd="0" parTransId="{615C6871-25D1-48F5-AA0C-65002E2D37E8}" sibTransId="{BCB39BB0-125C-4038-B13A-15F42E74E32D}"/>
    <dgm:cxn modelId="{D2B5D4DE-1770-4DB4-AD70-8E9FA8AA0C0C}" srcId="{8AB424EC-A04C-4458-B2DB-728D75E6D5D0}" destId="{113B2154-DE76-4305-87AA-2E2EE4DE5CD8}" srcOrd="6" destOrd="0" parTransId="{57CFAC46-45F6-4A55-8334-639E25F93211}" sibTransId="{A6A41CFB-C24F-43C3-B9A0-5C61FBBFF54D}"/>
    <dgm:cxn modelId="{EB0E9F29-8AFF-44F0-B8BF-AA23D5E77EC3}" srcId="{8AB424EC-A04C-4458-B2DB-728D75E6D5D0}" destId="{5CD6E087-89CE-46E6-8755-16433A46EE14}" srcOrd="1" destOrd="0" parTransId="{1841F250-3719-4A27-BFFA-DCEC7286ED94}" sibTransId="{621F1C3D-FDA0-415F-BBF7-33067B9B244A}"/>
    <dgm:cxn modelId="{5CEE0006-8359-4DE3-AF62-EB2408D74505}" type="presOf" srcId="{E4D1EE88-657E-4DE4-AF26-4554968EA86F}" destId="{67417126-47FE-431D-B9B3-CC92DDEECB5E}" srcOrd="0" destOrd="0" presId="urn:microsoft.com/office/officeart/2005/8/layout/pyramid2"/>
    <dgm:cxn modelId="{234021E5-8BED-430B-A288-7329CFAB95AB}" type="presOf" srcId="{FB5A29FC-01A6-43B3-8C04-A62BA591C743}" destId="{3030D4D6-4294-4491-ABE9-FFC310FC9381}" srcOrd="0" destOrd="0" presId="urn:microsoft.com/office/officeart/2005/8/layout/pyramid2"/>
    <dgm:cxn modelId="{C9A2D744-5A50-4205-93CF-51BA097231DA}" type="presOf" srcId="{5CD6E087-89CE-46E6-8755-16433A46EE14}" destId="{5D374AB3-2365-4B3C-B7E5-3482A08BEA17}" srcOrd="0" destOrd="0" presId="urn:microsoft.com/office/officeart/2005/8/layout/pyramid2"/>
    <dgm:cxn modelId="{9A9A01F3-38E0-414B-AF4E-4597CF139A0E}" srcId="{8AB424EC-A04C-4458-B2DB-728D75E6D5D0}" destId="{FB5A29FC-01A6-43B3-8C04-A62BA591C743}" srcOrd="3" destOrd="0" parTransId="{56CF39B9-FD69-4027-B0DF-730A674EB17C}" sibTransId="{F601CDD1-8698-4EFA-A13B-F490771A2848}"/>
    <dgm:cxn modelId="{564D188D-EEF0-42B7-8187-CCE37821837D}" type="presOf" srcId="{113B2154-DE76-4305-87AA-2E2EE4DE5CD8}" destId="{F5575008-0A22-47C3-84DC-CA046FE53FD8}" srcOrd="0" destOrd="0" presId="urn:microsoft.com/office/officeart/2005/8/layout/pyramid2"/>
    <dgm:cxn modelId="{BBF2638B-0654-4CE4-88EA-8667737D1884}" type="presOf" srcId="{665D6DDD-DBB0-4292-A679-134F4DBA0AA9}" destId="{4CBEB71F-E500-4CBE-A789-1CF21B9AFBAD}" srcOrd="0" destOrd="0" presId="urn:microsoft.com/office/officeart/2005/8/layout/pyramid2"/>
    <dgm:cxn modelId="{5082912B-A814-4A6D-9C05-ABF6E34F362B}" type="presOf" srcId="{B98A7470-949C-48BD-AE78-3542AD98CD7A}" destId="{0A050F5A-EB99-4BE9-A2E5-71DD72637501}" srcOrd="0" destOrd="0" presId="urn:microsoft.com/office/officeart/2005/8/layout/pyramid2"/>
    <dgm:cxn modelId="{DD282DAD-6861-49F8-A4BB-86FBBBBF5280}" srcId="{8AB424EC-A04C-4458-B2DB-728D75E6D5D0}" destId="{B98A7470-949C-48BD-AE78-3542AD98CD7A}" srcOrd="4" destOrd="0" parTransId="{0101F65F-147E-4BD2-A78C-E332D3C468E8}" sibTransId="{A16ED25D-D2F6-4DAD-AB86-732227229F1E}"/>
    <dgm:cxn modelId="{FBAC150B-904E-4289-9E51-3FE3B40A8D75}" srcId="{8AB424EC-A04C-4458-B2DB-728D75E6D5D0}" destId="{58246C5D-E7D5-48DA-BBA6-F4627720E333}" srcOrd="0" destOrd="0" parTransId="{3F104443-26BA-4A13-A984-C0D992562259}" sibTransId="{CCB9D7B8-8CED-4A7A-AD53-B7D861D0CEB4}"/>
    <dgm:cxn modelId="{DB001916-D335-4C97-ADA1-996104F98F54}" srcId="{8AB424EC-A04C-4458-B2DB-728D75E6D5D0}" destId="{9785FFD5-D4B0-4D4F-828F-F98C56275D51}" srcOrd="7" destOrd="0" parTransId="{D1C9FE8B-A45A-47E1-BBFE-996FFE8855E4}" sibTransId="{F37A6E76-9D4E-4E50-BBC7-EA2E6DFE1069}"/>
    <dgm:cxn modelId="{83F229EB-7AD3-4F6C-9FE6-84E654E06BB1}" type="presOf" srcId="{9785FFD5-D4B0-4D4F-828F-F98C56275D51}" destId="{0EEAE7BB-3F75-41D4-96C0-061BEE98D53B}" srcOrd="0" destOrd="0" presId="urn:microsoft.com/office/officeart/2005/8/layout/pyramid2"/>
    <dgm:cxn modelId="{322D3ECF-F694-402D-9968-CEB46D12614E}" type="presOf" srcId="{8AB424EC-A04C-4458-B2DB-728D75E6D5D0}" destId="{8F37A3CC-6E47-4A7B-A6DC-5F2A9C531CAB}" srcOrd="0" destOrd="0" presId="urn:microsoft.com/office/officeart/2005/8/layout/pyramid2"/>
    <dgm:cxn modelId="{691823F8-B641-446B-BE9E-FC8330B907A5}" srcId="{8AB424EC-A04C-4458-B2DB-728D75E6D5D0}" destId="{E4D1EE88-657E-4DE4-AF26-4554968EA86F}" srcOrd="2" destOrd="0" parTransId="{C040863A-821A-4CDF-830C-577FBAE62C4B}" sibTransId="{11CBDBAC-89CD-41CC-BA8B-E38E68E72950}"/>
    <dgm:cxn modelId="{C0C78AC3-03C7-47B3-A8D2-3629554EC545}" type="presOf" srcId="{58246C5D-E7D5-48DA-BBA6-F4627720E333}" destId="{E050ED67-5EBB-4A7B-AEB3-54DFBE0A8DB5}" srcOrd="0" destOrd="0" presId="urn:microsoft.com/office/officeart/2005/8/layout/pyramid2"/>
    <dgm:cxn modelId="{1CFAA8D9-337B-4FBD-8096-95703381A9E9}" type="presParOf" srcId="{8F37A3CC-6E47-4A7B-A6DC-5F2A9C531CAB}" destId="{2DB44DBA-C079-4EDE-915F-66131851EB77}" srcOrd="0" destOrd="0" presId="urn:microsoft.com/office/officeart/2005/8/layout/pyramid2"/>
    <dgm:cxn modelId="{278EBE9B-707E-40B9-9ED4-97C9B7955551}" type="presParOf" srcId="{8F37A3CC-6E47-4A7B-A6DC-5F2A9C531CAB}" destId="{F2179FCF-6395-4745-B90C-FA593C32B616}" srcOrd="1" destOrd="0" presId="urn:microsoft.com/office/officeart/2005/8/layout/pyramid2"/>
    <dgm:cxn modelId="{223F85C2-CE11-4B21-B75D-F695E9282D15}" type="presParOf" srcId="{F2179FCF-6395-4745-B90C-FA593C32B616}" destId="{E050ED67-5EBB-4A7B-AEB3-54DFBE0A8DB5}" srcOrd="0" destOrd="0" presId="urn:microsoft.com/office/officeart/2005/8/layout/pyramid2"/>
    <dgm:cxn modelId="{52FE77D2-7ADB-4B99-9737-3D65482B0DDA}" type="presParOf" srcId="{F2179FCF-6395-4745-B90C-FA593C32B616}" destId="{8F11B25F-B744-46AA-9C78-787CADBD9897}" srcOrd="1" destOrd="0" presId="urn:microsoft.com/office/officeart/2005/8/layout/pyramid2"/>
    <dgm:cxn modelId="{7DFF3EDA-A591-4EF5-9508-3EB1F20D68B9}" type="presParOf" srcId="{F2179FCF-6395-4745-B90C-FA593C32B616}" destId="{5D374AB3-2365-4B3C-B7E5-3482A08BEA17}" srcOrd="2" destOrd="0" presId="urn:microsoft.com/office/officeart/2005/8/layout/pyramid2"/>
    <dgm:cxn modelId="{52A9B003-9330-4AC3-9C44-A2B852BA5527}" type="presParOf" srcId="{F2179FCF-6395-4745-B90C-FA593C32B616}" destId="{B1F1B46A-34F8-4489-994E-7FB47780E518}" srcOrd="3" destOrd="0" presId="urn:microsoft.com/office/officeart/2005/8/layout/pyramid2"/>
    <dgm:cxn modelId="{036112F3-D6D9-423D-B352-8BB962585105}" type="presParOf" srcId="{F2179FCF-6395-4745-B90C-FA593C32B616}" destId="{67417126-47FE-431D-B9B3-CC92DDEECB5E}" srcOrd="4" destOrd="0" presId="urn:microsoft.com/office/officeart/2005/8/layout/pyramid2"/>
    <dgm:cxn modelId="{D8296E1B-6C17-44E6-9A93-86AC80ECDE94}" type="presParOf" srcId="{F2179FCF-6395-4745-B90C-FA593C32B616}" destId="{26C3A6DD-FA7D-49F1-90A5-DF721AD3385E}" srcOrd="5" destOrd="0" presId="urn:microsoft.com/office/officeart/2005/8/layout/pyramid2"/>
    <dgm:cxn modelId="{805DAAC3-B747-40C2-884C-B38D9D0A1256}" type="presParOf" srcId="{F2179FCF-6395-4745-B90C-FA593C32B616}" destId="{3030D4D6-4294-4491-ABE9-FFC310FC9381}" srcOrd="6" destOrd="0" presId="urn:microsoft.com/office/officeart/2005/8/layout/pyramid2"/>
    <dgm:cxn modelId="{ED622531-1DDF-47CC-AEC6-B9D660CE238B}" type="presParOf" srcId="{F2179FCF-6395-4745-B90C-FA593C32B616}" destId="{B706EA0C-4423-414F-97C4-55C051C9F34C}" srcOrd="7" destOrd="0" presId="urn:microsoft.com/office/officeart/2005/8/layout/pyramid2"/>
    <dgm:cxn modelId="{7F966ABF-9868-40B4-96E6-D8EA4197A02F}" type="presParOf" srcId="{F2179FCF-6395-4745-B90C-FA593C32B616}" destId="{0A050F5A-EB99-4BE9-A2E5-71DD72637501}" srcOrd="8" destOrd="0" presId="urn:microsoft.com/office/officeart/2005/8/layout/pyramid2"/>
    <dgm:cxn modelId="{C009810B-2775-49BF-8A7D-7B2F523A09B5}" type="presParOf" srcId="{F2179FCF-6395-4745-B90C-FA593C32B616}" destId="{EEA5938B-5BA1-4A9E-84A0-4571131D9D44}" srcOrd="9" destOrd="0" presId="urn:microsoft.com/office/officeart/2005/8/layout/pyramid2"/>
    <dgm:cxn modelId="{39AC9198-D823-4B1E-9863-40A1DC964F24}" type="presParOf" srcId="{F2179FCF-6395-4745-B90C-FA593C32B616}" destId="{4CBEB71F-E500-4CBE-A789-1CF21B9AFBAD}" srcOrd="10" destOrd="0" presId="urn:microsoft.com/office/officeart/2005/8/layout/pyramid2"/>
    <dgm:cxn modelId="{31AE684F-6985-4F98-9FE5-18C12F8EB943}" type="presParOf" srcId="{F2179FCF-6395-4745-B90C-FA593C32B616}" destId="{C19F3ABB-4BCD-4050-8EAB-3F69327F9248}" srcOrd="11" destOrd="0" presId="urn:microsoft.com/office/officeart/2005/8/layout/pyramid2"/>
    <dgm:cxn modelId="{4E9303CC-CBE0-4649-80D3-DC857D8C7C2F}" type="presParOf" srcId="{F2179FCF-6395-4745-B90C-FA593C32B616}" destId="{F5575008-0A22-47C3-84DC-CA046FE53FD8}" srcOrd="12" destOrd="0" presId="urn:microsoft.com/office/officeart/2005/8/layout/pyramid2"/>
    <dgm:cxn modelId="{F0679E5F-73E8-4B17-A59F-0C6B9F3F4A68}" type="presParOf" srcId="{F2179FCF-6395-4745-B90C-FA593C32B616}" destId="{69639E00-1BD8-4E94-BF08-93F5BB3AD3C3}" srcOrd="13" destOrd="0" presId="urn:microsoft.com/office/officeart/2005/8/layout/pyramid2"/>
    <dgm:cxn modelId="{9E183507-A09B-4B9F-8283-BABC8B71C1DD}" type="presParOf" srcId="{F2179FCF-6395-4745-B90C-FA593C32B616}" destId="{0EEAE7BB-3F75-41D4-96C0-061BEE98D53B}" srcOrd="14" destOrd="0" presId="urn:microsoft.com/office/officeart/2005/8/layout/pyramid2"/>
    <dgm:cxn modelId="{1B8E52F3-B74E-4B46-9C90-B8FB96365368}" type="presParOf" srcId="{F2179FCF-6395-4745-B90C-FA593C32B616}" destId="{447CE2F1-3DA8-40BD-83CE-D5F079A51078}" srcOrd="1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33900E-42DD-4737-9A12-923D83C7A13B}">
      <dsp:nvSpPr>
        <dsp:cNvPr id="0" name=""/>
        <dsp:cNvSpPr/>
      </dsp:nvSpPr>
      <dsp:spPr>
        <a:xfrm>
          <a:off x="1151989" y="0"/>
          <a:ext cx="2313402" cy="5421313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FFA34CB-99FB-462A-9533-068DD19BE259}">
      <dsp:nvSpPr>
        <dsp:cNvPr id="0" name=""/>
        <dsp:cNvSpPr/>
      </dsp:nvSpPr>
      <dsp:spPr>
        <a:xfrm>
          <a:off x="558868" y="899244"/>
          <a:ext cx="3489374" cy="54517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Добыча серебра - </a:t>
          </a:r>
        </a:p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solidFill>
                <a:srgbClr val="3399FF"/>
              </a:solidFill>
              <a:latin typeface="Times New Roman" pitchFamily="18" charset="0"/>
              <a:cs typeface="Times New Roman" pitchFamily="18" charset="0"/>
            </a:rPr>
            <a:t>112,9% к 2014 году</a:t>
          </a:r>
        </a:p>
      </dsp:txBody>
      <dsp:txXfrm>
        <a:off x="585481" y="925857"/>
        <a:ext cx="3436148" cy="491952"/>
      </dsp:txXfrm>
    </dsp:sp>
    <dsp:sp modelId="{FF0BC612-C966-4931-AB83-8582E2C1F38F}">
      <dsp:nvSpPr>
        <dsp:cNvPr id="0" name=""/>
        <dsp:cNvSpPr/>
      </dsp:nvSpPr>
      <dsp:spPr>
        <a:xfrm>
          <a:off x="558868" y="179165"/>
          <a:ext cx="3489374" cy="54517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Добыча золота - </a:t>
          </a:r>
        </a:p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solidFill>
                <a:srgbClr val="3399FF"/>
              </a:solidFill>
              <a:latin typeface="Times New Roman" pitchFamily="18" charset="0"/>
              <a:cs typeface="Times New Roman" pitchFamily="18" charset="0"/>
            </a:rPr>
            <a:t>100,4% к 2014 году</a:t>
          </a:r>
        </a:p>
      </dsp:txBody>
      <dsp:txXfrm>
        <a:off x="585481" y="205778"/>
        <a:ext cx="3436148" cy="491952"/>
      </dsp:txXfrm>
    </dsp:sp>
    <dsp:sp modelId="{A4D55151-B3DE-448E-8DF5-C7E2E17D5A5A}">
      <dsp:nvSpPr>
        <dsp:cNvPr id="0" name=""/>
        <dsp:cNvSpPr/>
      </dsp:nvSpPr>
      <dsp:spPr>
        <a:xfrm>
          <a:off x="558868" y="1661417"/>
          <a:ext cx="3489374" cy="54517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Ввод в действие жилых домов -                                           </a:t>
          </a:r>
          <a:r>
            <a:rPr lang="ru-RU" sz="1400" b="1" kern="1200" dirty="0" smtClean="0">
              <a:solidFill>
                <a:srgbClr val="3399FF"/>
              </a:solidFill>
              <a:latin typeface="Times New Roman" pitchFamily="18" charset="0"/>
              <a:cs typeface="Times New Roman" pitchFamily="18" charset="0"/>
            </a:rPr>
            <a:t>129,4% к 2014 году </a:t>
          </a:r>
        </a:p>
      </dsp:txBody>
      <dsp:txXfrm>
        <a:off x="585481" y="1688030"/>
        <a:ext cx="3436148" cy="491952"/>
      </dsp:txXfrm>
    </dsp:sp>
    <dsp:sp modelId="{CDAEDC43-688B-4282-ADD2-BF6C79A5F213}">
      <dsp:nvSpPr>
        <dsp:cNvPr id="0" name=""/>
        <dsp:cNvSpPr/>
      </dsp:nvSpPr>
      <dsp:spPr>
        <a:xfrm>
          <a:off x="558868" y="2400430"/>
          <a:ext cx="3489374" cy="54517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Прибыль прибыльных  предприятий - </a:t>
          </a:r>
        </a:p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solidFill>
                <a:srgbClr val="3399FF"/>
              </a:solidFill>
              <a:latin typeface="Times New Roman" pitchFamily="18" charset="0"/>
              <a:cs typeface="Times New Roman" pitchFamily="18" charset="0"/>
            </a:rPr>
            <a:t>в 1,7 раза к 2014 году</a:t>
          </a:r>
        </a:p>
      </dsp:txBody>
      <dsp:txXfrm>
        <a:off x="585481" y="2427043"/>
        <a:ext cx="3436148" cy="491952"/>
      </dsp:txXfrm>
    </dsp:sp>
    <dsp:sp modelId="{C7E38674-45FC-403F-BD54-3E937B83E449}">
      <dsp:nvSpPr>
        <dsp:cNvPr id="0" name=""/>
        <dsp:cNvSpPr/>
      </dsp:nvSpPr>
      <dsp:spPr>
        <a:xfrm>
          <a:off x="555696" y="3139444"/>
          <a:ext cx="3495718" cy="535222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Объем платных услуг населению - </a:t>
          </a:r>
        </a:p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solidFill>
                <a:srgbClr val="3399FF"/>
              </a:solidFill>
              <a:latin typeface="Times New Roman" pitchFamily="18" charset="0"/>
              <a:cs typeface="Times New Roman" pitchFamily="18" charset="0"/>
            </a:rPr>
            <a:t>110,6% к 2014 году</a:t>
          </a:r>
        </a:p>
      </dsp:txBody>
      <dsp:txXfrm>
        <a:off x="581823" y="3165571"/>
        <a:ext cx="3443464" cy="482968"/>
      </dsp:txXfrm>
    </dsp:sp>
    <dsp:sp modelId="{213BC633-BEFD-4BA0-9037-0C8931263F93}">
      <dsp:nvSpPr>
        <dsp:cNvPr id="0" name=""/>
        <dsp:cNvSpPr/>
      </dsp:nvSpPr>
      <dsp:spPr>
        <a:xfrm>
          <a:off x="559546" y="4555890"/>
          <a:ext cx="3488018" cy="564783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Объем строительных работ - </a:t>
          </a:r>
        </a:p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solidFill>
                <a:srgbClr val="3399FF"/>
              </a:solidFill>
              <a:latin typeface="Times New Roman" pitchFamily="18" charset="0"/>
              <a:cs typeface="Times New Roman" pitchFamily="18" charset="0"/>
            </a:rPr>
            <a:t>в 3 раза к 2014 году</a:t>
          </a:r>
        </a:p>
      </dsp:txBody>
      <dsp:txXfrm>
        <a:off x="587116" y="4583460"/>
        <a:ext cx="3432878" cy="509643"/>
      </dsp:txXfrm>
    </dsp:sp>
    <dsp:sp modelId="{9D5CEAE1-315D-4257-AAF8-6E38C44C7556}">
      <dsp:nvSpPr>
        <dsp:cNvPr id="0" name=""/>
        <dsp:cNvSpPr/>
      </dsp:nvSpPr>
      <dsp:spPr>
        <a:xfrm>
          <a:off x="559546" y="3878457"/>
          <a:ext cx="3488018" cy="458734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Оборот розничной торговли - </a:t>
          </a:r>
        </a:p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solidFill>
                <a:srgbClr val="3399FF"/>
              </a:solidFill>
              <a:latin typeface="Times New Roman" pitchFamily="18" charset="0"/>
              <a:cs typeface="Times New Roman" pitchFamily="18" charset="0"/>
            </a:rPr>
            <a:t>105,0% к 2014 году</a:t>
          </a:r>
        </a:p>
      </dsp:txBody>
      <dsp:txXfrm>
        <a:off x="581940" y="3900851"/>
        <a:ext cx="3443230" cy="41394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B44DBA-C079-4EDE-915F-66131851EB77}">
      <dsp:nvSpPr>
        <dsp:cNvPr id="0" name=""/>
        <dsp:cNvSpPr/>
      </dsp:nvSpPr>
      <dsp:spPr>
        <a:xfrm rot="10800000">
          <a:off x="1107686" y="0"/>
          <a:ext cx="2509009" cy="5328591"/>
        </a:xfrm>
        <a:prstGeom prst="triangl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050ED67-5EBB-4A7B-AEB3-54DFBE0A8DB5}">
      <dsp:nvSpPr>
        <dsp:cNvPr id="0" name=""/>
        <dsp:cNvSpPr/>
      </dsp:nvSpPr>
      <dsp:spPr>
        <a:xfrm>
          <a:off x="413278" y="1427857"/>
          <a:ext cx="3655300" cy="488010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Добыча угля - </a:t>
          </a:r>
        </a:p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53,6% к 2014 году </a:t>
          </a:r>
        </a:p>
      </dsp:txBody>
      <dsp:txXfrm>
        <a:off x="437101" y="1451680"/>
        <a:ext cx="3607654" cy="440364"/>
      </dsp:txXfrm>
    </dsp:sp>
    <dsp:sp modelId="{5D374AB3-2365-4B3C-B7E5-3482A08BEA17}">
      <dsp:nvSpPr>
        <dsp:cNvPr id="0" name=""/>
        <dsp:cNvSpPr/>
      </dsp:nvSpPr>
      <dsp:spPr>
        <a:xfrm>
          <a:off x="486368" y="2055322"/>
          <a:ext cx="3635006" cy="444871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Объем инвестиций в основной капитал - </a:t>
          </a:r>
          <a:r>
            <a:rPr lang="ru-RU" sz="1400" b="1" kern="120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90,1% к 2014 году</a:t>
          </a:r>
        </a:p>
      </dsp:txBody>
      <dsp:txXfrm>
        <a:off x="508085" y="2077039"/>
        <a:ext cx="3591572" cy="401437"/>
      </dsp:txXfrm>
    </dsp:sp>
    <dsp:sp modelId="{67417126-47FE-431D-B9B3-CC92DDEECB5E}">
      <dsp:nvSpPr>
        <dsp:cNvPr id="0" name=""/>
        <dsp:cNvSpPr/>
      </dsp:nvSpPr>
      <dsp:spPr>
        <a:xfrm>
          <a:off x="477185" y="4634622"/>
          <a:ext cx="3634301" cy="533427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Индекс потребительских цен - </a:t>
          </a:r>
        </a:p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111,1% против 104,0% в 2014 году</a:t>
          </a:r>
        </a:p>
      </dsp:txBody>
      <dsp:txXfrm>
        <a:off x="503225" y="4660662"/>
        <a:ext cx="3582221" cy="481347"/>
      </dsp:txXfrm>
    </dsp:sp>
    <dsp:sp modelId="{3030D4D6-4294-4491-ABE9-FFC310FC9381}">
      <dsp:nvSpPr>
        <dsp:cNvPr id="0" name=""/>
        <dsp:cNvSpPr/>
      </dsp:nvSpPr>
      <dsp:spPr>
        <a:xfrm>
          <a:off x="481721" y="3937512"/>
          <a:ext cx="3634393" cy="51151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Уровень безработицы (по МОТ) -                                     </a:t>
          </a:r>
          <a:r>
            <a:rPr lang="ru-RU" sz="1400" b="1" kern="120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4,0% против 3,2% в 2014 году</a:t>
          </a:r>
        </a:p>
      </dsp:txBody>
      <dsp:txXfrm>
        <a:off x="506691" y="3962482"/>
        <a:ext cx="3584453" cy="461579"/>
      </dsp:txXfrm>
    </dsp:sp>
    <dsp:sp modelId="{0A050F5A-EB99-4BE9-A2E5-71DD72637501}">
      <dsp:nvSpPr>
        <dsp:cNvPr id="0" name=""/>
        <dsp:cNvSpPr/>
      </dsp:nvSpPr>
      <dsp:spPr>
        <a:xfrm>
          <a:off x="495634" y="163012"/>
          <a:ext cx="3608645" cy="438133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Индекс промышленного производства - </a:t>
          </a:r>
          <a:r>
            <a:rPr lang="ru-RU" sz="1400" b="1" kern="120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85,8% к 2014 году</a:t>
          </a:r>
          <a:endParaRPr lang="ru-RU" sz="1400" kern="1200" dirty="0">
            <a:solidFill>
              <a:srgbClr val="FF0000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517022" y="184400"/>
        <a:ext cx="3565869" cy="395357"/>
      </dsp:txXfrm>
    </dsp:sp>
    <dsp:sp modelId="{4CBEB71F-E500-4CBE-A789-1CF21B9AFBAD}">
      <dsp:nvSpPr>
        <dsp:cNvPr id="0" name=""/>
        <dsp:cNvSpPr/>
      </dsp:nvSpPr>
      <dsp:spPr>
        <a:xfrm>
          <a:off x="480636" y="739077"/>
          <a:ext cx="3571192" cy="517345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Объем продукции сельского хозяйства - </a:t>
          </a:r>
          <a:r>
            <a:rPr lang="ru-RU" sz="1400" b="1" kern="120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85,2% к 2014 году</a:t>
          </a:r>
          <a:endParaRPr lang="ru-RU" sz="1400" kern="1200" dirty="0">
            <a:solidFill>
              <a:srgbClr val="FF0000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505891" y="764332"/>
        <a:ext cx="3520682" cy="466835"/>
      </dsp:txXfrm>
    </dsp:sp>
    <dsp:sp modelId="{F5575008-0A22-47C3-84DC-CA046FE53FD8}">
      <dsp:nvSpPr>
        <dsp:cNvPr id="0" name=""/>
        <dsp:cNvSpPr/>
      </dsp:nvSpPr>
      <dsp:spPr>
        <a:xfrm>
          <a:off x="486368" y="2682717"/>
          <a:ext cx="3585661" cy="477170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Реальная заработная плата - </a:t>
          </a:r>
        </a:p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95,2% к 2014 году</a:t>
          </a:r>
        </a:p>
      </dsp:txBody>
      <dsp:txXfrm>
        <a:off x="509662" y="2706011"/>
        <a:ext cx="3539073" cy="430582"/>
      </dsp:txXfrm>
    </dsp:sp>
    <dsp:sp modelId="{0EEAE7BB-3F75-41D4-96C0-061BEE98D53B}">
      <dsp:nvSpPr>
        <dsp:cNvPr id="0" name=""/>
        <dsp:cNvSpPr/>
      </dsp:nvSpPr>
      <dsp:spPr>
        <a:xfrm>
          <a:off x="486377" y="3310117"/>
          <a:ext cx="3587831" cy="441040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latin typeface="Times New Roman" pitchFamily="18" charset="0"/>
              <a:cs typeface="Times New Roman" pitchFamily="18" charset="0"/>
            </a:rPr>
            <a:t>Реальный размер пенсий - </a:t>
          </a:r>
        </a:p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98,4% к 2014 году</a:t>
          </a:r>
        </a:p>
      </dsp:txBody>
      <dsp:txXfrm>
        <a:off x="507907" y="3331647"/>
        <a:ext cx="3544771" cy="3979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image" Target="../media/image2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image" Target="../media/image5.emf"/><Relationship Id="rId4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6888"/>
          </a:xfrm>
          <a:prstGeom prst="rect">
            <a:avLst/>
          </a:prstGeom>
        </p:spPr>
        <p:txBody>
          <a:bodyPr vert="horz" lIns="90178" tIns="45089" rIns="90178" bIns="45089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1275" y="0"/>
            <a:ext cx="2944813" cy="496888"/>
          </a:xfrm>
          <a:prstGeom prst="rect">
            <a:avLst/>
          </a:prstGeom>
        </p:spPr>
        <p:txBody>
          <a:bodyPr vert="horz" lIns="90178" tIns="45089" rIns="90178" bIns="45089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54B19F4-1762-4E14-8309-F229886E04C9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4813" cy="496888"/>
          </a:xfrm>
          <a:prstGeom prst="rect">
            <a:avLst/>
          </a:prstGeom>
        </p:spPr>
        <p:txBody>
          <a:bodyPr vert="horz" lIns="90178" tIns="45089" rIns="90178" bIns="45089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1275" y="9429750"/>
            <a:ext cx="2944813" cy="496888"/>
          </a:xfrm>
          <a:prstGeom prst="rect">
            <a:avLst/>
          </a:prstGeom>
        </p:spPr>
        <p:txBody>
          <a:bodyPr vert="horz" lIns="90178" tIns="45089" rIns="90178" bIns="45089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CE3FE46-D1C9-40D3-AF49-BD6C716A0FF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29249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6888"/>
          </a:xfrm>
          <a:prstGeom prst="rect">
            <a:avLst/>
          </a:prstGeom>
        </p:spPr>
        <p:txBody>
          <a:bodyPr vert="horz" lIns="95255" tIns="47628" rIns="95255" bIns="47628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1275" y="0"/>
            <a:ext cx="2944813" cy="496888"/>
          </a:xfrm>
          <a:prstGeom prst="rect">
            <a:avLst/>
          </a:prstGeom>
        </p:spPr>
        <p:txBody>
          <a:bodyPr vert="horz" lIns="95255" tIns="47628" rIns="95255" bIns="47628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340B705F-304B-4425-9D44-27433896626E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55" tIns="47628" rIns="95255" bIns="47628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 vert="horz" wrap="square" lIns="95255" tIns="47628" rIns="95255" bIns="47628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4813" cy="496888"/>
          </a:xfrm>
          <a:prstGeom prst="rect">
            <a:avLst/>
          </a:prstGeom>
        </p:spPr>
        <p:txBody>
          <a:bodyPr vert="horz" lIns="95255" tIns="47628" rIns="95255" bIns="47628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1275" y="9429750"/>
            <a:ext cx="2944813" cy="496888"/>
          </a:xfrm>
          <a:prstGeom prst="rect">
            <a:avLst/>
          </a:prstGeom>
        </p:spPr>
        <p:txBody>
          <a:bodyPr vert="horz" lIns="95255" tIns="47628" rIns="95255" bIns="47628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49070911-B1B2-4BDB-BCB9-B8DD355E24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41623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AB92C93-8D0B-4DBE-9D73-1E4262562684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1275" y="9429750"/>
            <a:ext cx="2944813" cy="4968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>
              <a:defRPr/>
            </a:pPr>
            <a:fld id="{97C0F5A6-8E6A-41A7-BEFD-0208AFD0D5A2}" type="slidenum">
              <a:rPr lang="ru-RU" sz="1300">
                <a:latin typeface="+mn-lt"/>
              </a:rPr>
              <a:pPr algn="r">
                <a:defRPr/>
              </a:pPr>
              <a:t>10</a:t>
            </a:fld>
            <a:endParaRPr lang="ru-RU" sz="1300">
              <a:latin typeface="+mn-lt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1275" y="9429750"/>
            <a:ext cx="2944813" cy="4968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 eaLnBrk="0" hangingPunct="0">
              <a:defRPr/>
            </a:pPr>
            <a:fld id="{889BE20C-1F15-4146-873E-1E13A9C17A6F}" type="slidenum">
              <a:rPr lang="ru-RU" sz="1300">
                <a:latin typeface="+mn-lt"/>
              </a:rPr>
              <a:pPr algn="r" eaLnBrk="0" hangingPunct="0">
                <a:defRPr/>
              </a:pPr>
              <a:t>11</a:t>
            </a:fld>
            <a:endParaRPr lang="ru-RU" sz="1300">
              <a:latin typeface="+mn-lt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1275" y="9429750"/>
            <a:ext cx="2944813" cy="4968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 eaLnBrk="0" hangingPunct="0">
              <a:defRPr/>
            </a:pPr>
            <a:fld id="{0988F94F-F12C-452B-B1B7-53FA1E50F463}" type="slidenum">
              <a:rPr lang="ru-RU" sz="1300">
                <a:latin typeface="+mn-lt"/>
              </a:rPr>
              <a:pPr algn="r" eaLnBrk="0" hangingPunct="0">
                <a:defRPr/>
              </a:pPr>
              <a:t>12</a:t>
            </a:fld>
            <a:endParaRPr lang="ru-RU" sz="1300">
              <a:latin typeface="+mn-lt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1275" y="9429750"/>
            <a:ext cx="2944813" cy="4968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 eaLnBrk="0" hangingPunct="0">
              <a:defRPr/>
            </a:pPr>
            <a:fld id="{447566D1-B982-46B6-8529-C9BE683DFE52}" type="slidenum">
              <a:rPr lang="ru-RU" sz="1300">
                <a:latin typeface="+mn-lt"/>
              </a:rPr>
              <a:pPr algn="r" eaLnBrk="0" hangingPunct="0">
                <a:defRPr/>
              </a:pPr>
              <a:t>13</a:t>
            </a:fld>
            <a:endParaRPr lang="ru-RU" sz="1300">
              <a:latin typeface="+mn-lt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1275" y="9429750"/>
            <a:ext cx="2944813" cy="4968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 eaLnBrk="0" hangingPunct="0">
              <a:defRPr/>
            </a:pPr>
            <a:fld id="{5B500221-88E5-4639-93BA-A7AA4B57A4E7}" type="slidenum">
              <a:rPr lang="ru-RU" sz="1300">
                <a:latin typeface="+mn-lt"/>
              </a:rPr>
              <a:pPr algn="r" eaLnBrk="0" hangingPunct="0">
                <a:defRPr/>
              </a:pPr>
              <a:t>14</a:t>
            </a:fld>
            <a:endParaRPr lang="ru-RU" sz="1300">
              <a:latin typeface="+mn-lt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1275" y="9429750"/>
            <a:ext cx="2944813" cy="4968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 eaLnBrk="0" hangingPunct="0">
              <a:defRPr/>
            </a:pPr>
            <a:fld id="{90DC6030-5886-4E59-9E11-D70B3D18672B}" type="slidenum">
              <a:rPr lang="ru-RU" sz="1300">
                <a:latin typeface="+mn-lt"/>
              </a:rPr>
              <a:pPr algn="r" eaLnBrk="0" hangingPunct="0">
                <a:defRPr/>
              </a:pPr>
              <a:t>15</a:t>
            </a:fld>
            <a:endParaRPr lang="ru-RU" sz="1300">
              <a:latin typeface="+mn-lt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1275" y="9429750"/>
            <a:ext cx="2944813" cy="4968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 eaLnBrk="0" hangingPunct="0">
              <a:defRPr/>
            </a:pPr>
            <a:fld id="{3275DA77-4EA5-4924-8CAD-CC24E7889665}" type="slidenum">
              <a:rPr lang="ru-RU" sz="1300">
                <a:latin typeface="+mn-lt"/>
              </a:rPr>
              <a:pPr algn="r" eaLnBrk="0" hangingPunct="0">
                <a:defRPr/>
              </a:pPr>
              <a:t>16</a:t>
            </a:fld>
            <a:endParaRPr lang="ru-RU" sz="1300">
              <a:latin typeface="+mn-lt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1275" y="9429750"/>
            <a:ext cx="2944813" cy="4968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>
              <a:defRPr/>
            </a:pPr>
            <a:fld id="{BA99EE9F-847E-4CC9-891D-81FA996E6132}" type="slidenum">
              <a:rPr lang="ru-RU" sz="1300">
                <a:latin typeface="+mn-lt"/>
              </a:rPr>
              <a:pPr algn="r">
                <a:defRPr/>
              </a:pPr>
              <a:t>17</a:t>
            </a:fld>
            <a:endParaRPr lang="ru-RU" sz="1300">
              <a:latin typeface="+mn-lt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1275" y="9429750"/>
            <a:ext cx="2944813" cy="4968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 eaLnBrk="0" hangingPunct="0">
              <a:defRPr/>
            </a:pPr>
            <a:fld id="{335C5B59-6EB8-4490-BBC4-3E6C208B92F6}" type="slidenum">
              <a:rPr lang="ru-RU" sz="1300">
                <a:latin typeface="+mn-lt"/>
              </a:rPr>
              <a:pPr algn="r" eaLnBrk="0" hangingPunct="0">
                <a:defRPr/>
              </a:pPr>
              <a:t>18</a:t>
            </a:fld>
            <a:endParaRPr lang="ru-RU" sz="1300">
              <a:latin typeface="+mn-lt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1275" y="9429750"/>
            <a:ext cx="2944813" cy="4968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 eaLnBrk="0" hangingPunct="0">
              <a:defRPr/>
            </a:pPr>
            <a:fld id="{05D3D037-6FC6-4D7C-B4D8-402EC06458E1}" type="slidenum">
              <a:rPr lang="ru-RU" sz="1300">
                <a:latin typeface="+mn-lt"/>
              </a:rPr>
              <a:pPr algn="r" eaLnBrk="0" hangingPunct="0">
                <a:defRPr/>
              </a:pPr>
              <a:t>19</a:t>
            </a:fld>
            <a:endParaRPr lang="ru-RU" sz="1300">
              <a:latin typeface="+mn-lt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1275" y="9429750"/>
            <a:ext cx="2944813" cy="4968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>
              <a:defRPr/>
            </a:pPr>
            <a:fld id="{09C381BF-4B93-480D-95AE-8568439B6F60}" type="slidenum">
              <a:rPr lang="ru-RU" sz="1300">
                <a:latin typeface="+mn-lt"/>
              </a:rPr>
              <a:pPr algn="r">
                <a:defRPr/>
              </a:pPr>
              <a:t>2</a:t>
            </a:fld>
            <a:endParaRPr lang="ru-RU" sz="1300">
              <a:latin typeface="+mn-lt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46084" name="Номер слайда 3"/>
          <p:cNvSpPr txBox="1">
            <a:spLocks noGrp="1"/>
          </p:cNvSpPr>
          <p:nvPr/>
        </p:nvSpPr>
        <p:spPr bwMode="auto">
          <a:xfrm>
            <a:off x="3851275" y="9429750"/>
            <a:ext cx="294481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255" tIns="47628" rIns="95255" bIns="47628" anchor="b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03A09236-2EFE-4C79-9DB0-0B251F7093D8}" type="slidenum">
              <a:rPr lang="ru-RU" sz="1300">
                <a:solidFill>
                  <a:srgbClr val="000000"/>
                </a:solidFill>
                <a:latin typeface="Calibri" pitchFamily="34" charset="0"/>
              </a:rPr>
              <a:pPr algn="r"/>
              <a:t>20</a:t>
            </a:fld>
            <a:endParaRPr lang="ru-RU" sz="130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1275" y="9429750"/>
            <a:ext cx="2944813" cy="4968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>
              <a:defRPr/>
            </a:pPr>
            <a:fld id="{E7511DD3-016E-49A1-A584-291DADA43097}" type="slidenum">
              <a:rPr lang="ru-RU" sz="1300">
                <a:latin typeface="+mn-lt"/>
              </a:rPr>
              <a:pPr algn="r">
                <a:defRPr/>
              </a:pPr>
              <a:t>3</a:t>
            </a:fld>
            <a:endParaRPr lang="ru-RU" sz="1300">
              <a:latin typeface="+mn-lt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1275" y="9429750"/>
            <a:ext cx="2944813" cy="4968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>
              <a:defRPr/>
            </a:pPr>
            <a:fld id="{2C612054-401B-4430-8C3E-C44A82D28B7B}" type="slidenum">
              <a:rPr lang="ru-RU" sz="1300">
                <a:latin typeface="+mn-lt"/>
              </a:rPr>
              <a:pPr algn="r">
                <a:defRPr/>
              </a:pPr>
              <a:t>4</a:t>
            </a:fld>
            <a:endParaRPr lang="ru-RU" sz="1300">
              <a:latin typeface="+mn-lt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1275" y="9429750"/>
            <a:ext cx="2944813" cy="4968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>
              <a:defRPr/>
            </a:pPr>
            <a:fld id="{EE8840CE-2991-4028-873F-1C3F4B2AC48F}" type="slidenum">
              <a:rPr lang="ru-RU" sz="1300">
                <a:latin typeface="+mn-lt"/>
              </a:rPr>
              <a:pPr algn="r">
                <a:defRPr/>
              </a:pPr>
              <a:t>5</a:t>
            </a:fld>
            <a:endParaRPr lang="ru-RU" sz="1300">
              <a:latin typeface="+mn-lt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1275" y="9429750"/>
            <a:ext cx="2944813" cy="4968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>
              <a:defRPr/>
            </a:pPr>
            <a:fld id="{61DD218C-9C4F-4874-8601-041BEDB27668}" type="slidenum">
              <a:rPr lang="ru-RU" sz="1300">
                <a:latin typeface="+mn-lt"/>
              </a:rPr>
              <a:pPr algn="r">
                <a:defRPr/>
              </a:pPr>
              <a:t>6</a:t>
            </a:fld>
            <a:endParaRPr lang="ru-RU" sz="1300">
              <a:latin typeface="+mn-lt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1275" y="9429750"/>
            <a:ext cx="2944813" cy="4968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>
              <a:defRPr/>
            </a:pPr>
            <a:fld id="{4401458E-B60F-4818-8A7A-F8E9B92BB433}" type="slidenum">
              <a:rPr lang="ru-RU" sz="1300">
                <a:latin typeface="+mn-lt"/>
              </a:rPr>
              <a:pPr algn="r">
                <a:defRPr/>
              </a:pPr>
              <a:t>7</a:t>
            </a:fld>
            <a:endParaRPr lang="ru-RU" sz="1300">
              <a:latin typeface="+mn-lt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1275" y="9429750"/>
            <a:ext cx="2944813" cy="4968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>
              <a:defRPr/>
            </a:pPr>
            <a:fld id="{AA8D2E08-2190-45FC-BA02-5B60074713D7}" type="slidenum">
              <a:rPr lang="ru-RU" sz="1300">
                <a:latin typeface="+mn-lt"/>
              </a:rPr>
              <a:pPr algn="r">
                <a:defRPr/>
              </a:pPr>
              <a:t>8</a:t>
            </a:fld>
            <a:endParaRPr lang="ru-RU" sz="1300">
              <a:latin typeface="+mn-lt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1275" y="9429750"/>
            <a:ext cx="2944813" cy="49688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>
              <a:defRPr/>
            </a:pPr>
            <a:fld id="{2A876058-93CC-416E-AD1C-58C0E4952715}" type="slidenum">
              <a:rPr lang="ru-RU" sz="1300">
                <a:latin typeface="+mn-lt"/>
              </a:rPr>
              <a:pPr algn="r">
                <a:defRPr/>
              </a:pPr>
              <a:t>9</a:t>
            </a:fld>
            <a:endParaRPr lang="ru-RU" sz="1300">
              <a:latin typeface="+mn-lt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9825AE-E94E-4369-B148-BFCC9A1D73D2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194DDC-F32C-43A5-951B-97473A7EDB4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40347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3EFEA0-BD30-4890-A2CC-12A57FF3384D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C83E60-7848-44D6-AF55-7273C73390F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25157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920F46-1EF2-4704-9A9D-E7C29214E1F5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34F4FF-7BA7-4E0D-817B-0BB5D213E42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4092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B85176-EABE-44A6-8AB8-CB5196496130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E292B6-C9B2-4798-BA6B-E9476E518CE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60010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1FD920-E34C-4671-B8BD-71B737822EB9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793FF1-4D65-4ECC-9235-CF3885AC88E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61309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E74F15-65B4-436C-B317-0E9F3EF86514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0C97B7-5A26-42D8-A4A0-8931937BE7A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58884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B4245F-D4EE-4338-9448-1B8FE5053C2D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552A12-6E2D-40CE-8A97-8CC0C0C4C4B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1814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C97403-851E-442D-8F62-FD04EA4CCE46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EC3BE1-2BBD-48C6-A761-DE61CAAD72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83030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1B7194-52C4-49C7-AC98-4BCDB2B4E940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325CB8-453C-401C-B86F-90D528A245E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31619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269673-0EF6-47A1-A44C-21ECF2187D8F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AEB217-02E0-40D8-AE68-5C97B8097C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79559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546884-17BD-4802-AC7D-D021BB4FF3CF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9417FE-171D-42FC-A641-5561860FFD9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98756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65E678-008E-45DA-9E71-D38464AAEE51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BC6E04-75EA-4117-8BB8-C570CD74BE2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22071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4A9296-B4C6-4D1A-9990-4B8EDC903559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632BC5-F7EB-463A-B6FB-E61E4153044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55011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C71580-0D2C-4372-BD5E-B92820A050C2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9E7428-9B6D-4177-B467-2B060878795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10779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D99317-293A-4C6F-90B8-AAB3E7749510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412021-50B0-4631-B623-5902458696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85771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FAF6A4-B0E9-4215-98B3-0B56B9DC56D5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4B1270-44A3-49FE-BDB9-F4AF899DEF3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79973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A5E69C-83A5-401C-A636-90406715BDA8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7D4814-CB76-4792-8DF0-F5362C332F0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05165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BF937D-3B23-448D-9E0E-BF97718EDC67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0E8FD8-83A9-43E1-9126-E6A0FDF4D11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77960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894E74-AB0C-4E0D-84C3-938191DDBE1B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DF8E35-5304-4396-B2A6-2892DB2731C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9119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774743-7FD0-4929-B439-1B5F45983BBC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CB66BE-7A77-437C-A874-1A7AB14988F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68186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C51E36-E017-40CC-8EE1-9DA73AD867AB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F169D0-39A2-4148-95A3-1F4FD9340EB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42146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C0FD72-5C5F-46D1-AD61-201ADAE173ED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810088-437B-4262-A121-1E1055EE61F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85134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610A026-1DFA-40FA-88CD-0D4F0E6A4312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BFFFF33-E850-46B9-BFD0-DEB74A4DA10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2051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rgbClr val="000000">
                    <a:tint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A16B065-8474-4531-9D3D-3A8645D493B9}" type="datetimeFigureOut">
              <a:rPr lang="ru-RU"/>
              <a:pPr>
                <a:defRPr/>
              </a:pPr>
              <a:t>24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rgbClr val="000000">
                    <a:tint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rgbClr val="000000">
                    <a:tint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D43CAE5-7B1B-4E12-975E-4A3EE790B1A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7.emf"/><Relationship Id="rId5" Type="http://schemas.openxmlformats.org/officeDocument/2006/relationships/oleObject" Target="../embeddings/_____Microsoft_Excel_97-200315.xls"/><Relationship Id="rId4" Type="http://schemas.openxmlformats.org/officeDocument/2006/relationships/oleObject" Target="../embeddings/oleObject15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8.emf"/><Relationship Id="rId5" Type="http://schemas.openxmlformats.org/officeDocument/2006/relationships/oleObject" Target="../embeddings/_____Microsoft_Excel_97-200316.xls"/><Relationship Id="rId4" Type="http://schemas.openxmlformats.org/officeDocument/2006/relationships/oleObject" Target="../embeddings/oleObject16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9.emf"/><Relationship Id="rId2" Type="http://schemas.openxmlformats.org/officeDocument/2006/relationships/tags" Target="../tags/tag4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_____Microsoft_Excel_97-200317.xls"/><Relationship Id="rId11" Type="http://schemas.openxmlformats.org/officeDocument/2006/relationships/image" Target="../media/image20.emf"/><Relationship Id="rId5" Type="http://schemas.openxmlformats.org/officeDocument/2006/relationships/oleObject" Target="../embeddings/oleObject17.bin"/><Relationship Id="rId10" Type="http://schemas.openxmlformats.org/officeDocument/2006/relationships/oleObject" Target="../embeddings/_____Microsoft_Excel_97-200318.xls"/><Relationship Id="rId4" Type="http://schemas.openxmlformats.org/officeDocument/2006/relationships/notesSlide" Target="../notesSlides/notesSlide13.xml"/><Relationship Id="rId9" Type="http://schemas.openxmlformats.org/officeDocument/2006/relationships/oleObject" Target="../embeddings/oleObject18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1.emf"/><Relationship Id="rId5" Type="http://schemas.openxmlformats.org/officeDocument/2006/relationships/oleObject" Target="../embeddings/_____Microsoft_Excel_97-200319.xls"/><Relationship Id="rId4" Type="http://schemas.openxmlformats.org/officeDocument/2006/relationships/oleObject" Target="../embeddings/oleObject19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2.emf"/><Relationship Id="rId2" Type="http://schemas.openxmlformats.org/officeDocument/2006/relationships/tags" Target="../tags/tag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_____Microsoft_Excel_97-200320.xls"/><Relationship Id="rId11" Type="http://schemas.openxmlformats.org/officeDocument/2006/relationships/image" Target="../media/image23.emf"/><Relationship Id="rId5" Type="http://schemas.openxmlformats.org/officeDocument/2006/relationships/oleObject" Target="../embeddings/oleObject20.bin"/><Relationship Id="rId10" Type="http://schemas.openxmlformats.org/officeDocument/2006/relationships/oleObject" Target="../embeddings/_____Microsoft_Excel_97-200321.xls"/><Relationship Id="rId4" Type="http://schemas.openxmlformats.org/officeDocument/2006/relationships/notesSlide" Target="../notesSlides/notesSlide15.xml"/><Relationship Id="rId9" Type="http://schemas.openxmlformats.org/officeDocument/2006/relationships/oleObject" Target="../embeddings/oleObject21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_____Microsoft_Excel_97-200322.xls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22.bin"/><Relationship Id="rId2" Type="http://schemas.openxmlformats.org/officeDocument/2006/relationships/tags" Target="../tags/tag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png"/><Relationship Id="rId5" Type="http://schemas.openxmlformats.org/officeDocument/2006/relationships/chart" Target="../charts/chart2.xml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2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5.emf"/><Relationship Id="rId5" Type="http://schemas.openxmlformats.org/officeDocument/2006/relationships/oleObject" Target="../embeddings/_____Microsoft_Excel_97-200323.xls"/><Relationship Id="rId4" Type="http://schemas.openxmlformats.org/officeDocument/2006/relationships/oleObject" Target="../embeddings/oleObject23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6.emf"/><Relationship Id="rId5" Type="http://schemas.openxmlformats.org/officeDocument/2006/relationships/oleObject" Target="../embeddings/_____Microsoft_Excel_97-200324.xls"/><Relationship Id="rId4" Type="http://schemas.openxmlformats.org/officeDocument/2006/relationships/oleObject" Target="../embeddings/oleObject24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7.emf"/><Relationship Id="rId5" Type="http://schemas.openxmlformats.org/officeDocument/2006/relationships/oleObject" Target="../embeddings/_____Microsoft_Excel_97-200325.xls"/><Relationship Id="rId4" Type="http://schemas.openxmlformats.org/officeDocument/2006/relationships/oleObject" Target="../embeddings/oleObject2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.xml"/><Relationship Id="rId7" Type="http://schemas.openxmlformats.org/officeDocument/2006/relationships/oleObject" Target="../embeddings/_____Microsoft_Excel_97-20031.xls"/><Relationship Id="rId12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4.emf"/><Relationship Id="rId5" Type="http://schemas.openxmlformats.org/officeDocument/2006/relationships/notesSlide" Target="../notesSlides/notesSlide2.xml"/><Relationship Id="rId10" Type="http://schemas.openxmlformats.org/officeDocument/2006/relationships/oleObject" Target="../embeddings/_____Microsoft_Excel_97-20032.xls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8.emf"/><Relationship Id="rId5" Type="http://schemas.openxmlformats.org/officeDocument/2006/relationships/oleObject" Target="../embeddings/_____Microsoft_Excel_97-200326.xls"/><Relationship Id="rId4" Type="http://schemas.openxmlformats.org/officeDocument/2006/relationships/oleObject" Target="../embeddings/oleObject26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_____Microsoft_Excel_97-20034.xls"/><Relationship Id="rId13" Type="http://schemas.openxmlformats.org/officeDocument/2006/relationships/image" Target="../media/image7.emf"/><Relationship Id="rId3" Type="http://schemas.openxmlformats.org/officeDocument/2006/relationships/notesSlide" Target="../notesSlides/notesSlide3.xml"/><Relationship Id="rId7" Type="http://schemas.openxmlformats.org/officeDocument/2006/relationships/oleObject" Target="../embeddings/oleObject4.bin"/><Relationship Id="rId12" Type="http://schemas.openxmlformats.org/officeDocument/2006/relationships/oleObject" Target="../embeddings/_____Microsoft_Excel_97-20035.xls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8.emf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11" Type="http://schemas.openxmlformats.org/officeDocument/2006/relationships/oleObject" Target="../embeddings/oleObject5.bin"/><Relationship Id="rId5" Type="http://schemas.openxmlformats.org/officeDocument/2006/relationships/oleObject" Target="../embeddings/_____Microsoft_Excel_97-20033.xls"/><Relationship Id="rId15" Type="http://schemas.openxmlformats.org/officeDocument/2006/relationships/oleObject" Target="../embeddings/_____Microsoft_Excel_97-20036.xls"/><Relationship Id="rId10" Type="http://schemas.openxmlformats.org/officeDocument/2006/relationships/image" Target="../media/image2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emf"/><Relationship Id="rId1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notesSlide" Target="../notesSlides/notesSlide4.xml"/><Relationship Id="rId7" Type="http://schemas.openxmlformats.org/officeDocument/2006/relationships/oleObject" Target="../embeddings/_____Microsoft_Excel_97-20037.xls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2.png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_____Microsoft_Excel_97-20038.xls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_____Microsoft_Excel_97-20039.xls"/><Relationship Id="rId10" Type="http://schemas.openxmlformats.org/officeDocument/2006/relationships/image" Target="../media/image12.emf"/><Relationship Id="rId4" Type="http://schemas.openxmlformats.org/officeDocument/2006/relationships/oleObject" Target="../embeddings/oleObject9.bin"/><Relationship Id="rId9" Type="http://schemas.openxmlformats.org/officeDocument/2006/relationships/oleObject" Target="../embeddings/_____Microsoft_Excel_97-200310.xls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3.emf"/><Relationship Id="rId2" Type="http://schemas.openxmlformats.org/officeDocument/2006/relationships/tags" Target="../tags/tag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_____Microsoft_Excel_97-200311.xls"/><Relationship Id="rId11" Type="http://schemas.openxmlformats.org/officeDocument/2006/relationships/image" Target="../media/image14.emf"/><Relationship Id="rId5" Type="http://schemas.openxmlformats.org/officeDocument/2006/relationships/oleObject" Target="../embeddings/oleObject11.bin"/><Relationship Id="rId10" Type="http://schemas.openxmlformats.org/officeDocument/2006/relationships/oleObject" Target="../embeddings/_____Microsoft_Excel_97-200312.xls"/><Relationship Id="rId4" Type="http://schemas.openxmlformats.org/officeDocument/2006/relationships/notesSlide" Target="../notesSlides/notesSlide7.xml"/><Relationship Id="rId9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5" Type="http://schemas.openxmlformats.org/officeDocument/2006/relationships/oleObject" Target="../embeddings/_____Microsoft_Excel_97-200313.xls"/><Relationship Id="rId4" Type="http://schemas.openxmlformats.org/officeDocument/2006/relationships/oleObject" Target="../embeddings/oleObject1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6.emf"/><Relationship Id="rId5" Type="http://schemas.openxmlformats.org/officeDocument/2006/relationships/oleObject" Target="../embeddings/_____Microsoft_Excel_97-200314.xls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  <a:latin typeface="Times New Roman" pitchFamily="18" charset="0"/>
              <a:cs typeface="Arial" charset="0"/>
            </a:endParaRPr>
          </a:p>
        </p:txBody>
      </p:sp>
      <p:graphicFrame>
        <p:nvGraphicFramePr>
          <p:cNvPr id="12" name="Схема 11"/>
          <p:cNvGraphicFramePr/>
          <p:nvPr>
            <p:extLst>
              <p:ext uri="{D42A27DB-BD31-4B8C-83A1-F6EECF244321}">
                <p14:modId xmlns:p14="http://schemas.microsoft.com/office/powerpoint/2010/main" val="4116538704"/>
              </p:ext>
            </p:extLst>
          </p:nvPr>
        </p:nvGraphicFramePr>
        <p:xfrm>
          <a:off x="251520" y="1017588"/>
          <a:ext cx="4249043" cy="54213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4" name="Схема 13"/>
          <p:cNvGraphicFramePr/>
          <p:nvPr>
            <p:extLst>
              <p:ext uri="{D42A27DB-BD31-4B8C-83A1-F6EECF244321}">
                <p14:modId xmlns:p14="http://schemas.microsoft.com/office/powerpoint/2010/main" val="1198006905"/>
              </p:ext>
            </p:extLst>
          </p:nvPr>
        </p:nvGraphicFramePr>
        <p:xfrm>
          <a:off x="4392692" y="1033740"/>
          <a:ext cx="4392488" cy="53285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611188" y="620713"/>
            <a:ext cx="388778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Положительная динамика</a:t>
            </a:r>
          </a:p>
        </p:txBody>
      </p:sp>
      <p:sp>
        <p:nvSpPr>
          <p:cNvPr id="2" name="Text Box 11"/>
          <p:cNvSpPr txBox="1">
            <a:spLocks noChangeArrowheads="1"/>
          </p:cNvSpPr>
          <p:nvPr/>
        </p:nvSpPr>
        <p:spPr bwMode="auto">
          <a:xfrm>
            <a:off x="4888319" y="620712"/>
            <a:ext cx="38877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Отрицательная динамика</a:t>
            </a:r>
          </a:p>
        </p:txBody>
      </p:sp>
      <p:pic>
        <p:nvPicPr>
          <p:cNvPr id="4105" name="Picture 10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92" y="484080"/>
            <a:ext cx="9252520" cy="161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0" y="0"/>
            <a:ext cx="2051720" cy="338554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60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3316" name="Rectangle 8"/>
          <p:cNvSpPr>
            <a:spLocks noChangeArrowheads="1"/>
          </p:cNvSpPr>
          <p:nvPr/>
        </p:nvSpPr>
        <p:spPr bwMode="auto">
          <a:xfrm>
            <a:off x="1835696" y="11005"/>
            <a:ext cx="6408712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/>
            <a:r>
              <a:rPr lang="ru-RU" altLang="ru-RU" sz="2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Строительство и реконструкция </a:t>
            </a:r>
            <a:r>
              <a:rPr lang="ru-RU" altLang="ru-RU" sz="20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объектов</a:t>
            </a:r>
          </a:p>
        </p:txBody>
      </p:sp>
      <p:graphicFrame>
        <p:nvGraphicFramePr>
          <p:cNvPr id="12330" name="Group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560978"/>
              </p:ext>
            </p:extLst>
          </p:nvPr>
        </p:nvGraphicFramePr>
        <p:xfrm>
          <a:off x="185738" y="4653136"/>
          <a:ext cx="8785225" cy="2133544"/>
        </p:xfrm>
        <a:graphic>
          <a:graphicData uri="http://schemas.openxmlformats.org/drawingml/2006/table">
            <a:tbl>
              <a:tblPr/>
              <a:tblGrid>
                <a:gridCol w="7698630"/>
                <a:gridCol w="1086595"/>
              </a:tblGrid>
              <a:tr h="5474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рожное строительство</a:t>
                      </a:r>
                    </a:p>
                  </a:txBody>
                  <a:tcPr marL="91443" marR="91443" marT="45706" marB="4570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тя-женность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43" marR="91443" marT="45706" marB="4570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14723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должаются строительно-монтажные работы: </a:t>
                      </a:r>
                    </a:p>
                    <a:p>
                      <a:pPr marL="285750" marR="0" lvl="0" indent="-2857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2-ух участках автомобильной дороги «Омолон – Анадырь с подъездами до </a:t>
                      </a:r>
                      <a:r>
                        <a:rPr kumimoji="0" lang="ru-RU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илибино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, Комсомольского,  </a:t>
                      </a:r>
                      <a:r>
                        <a:rPr kumimoji="0" lang="ru-RU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Эгвекинота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»: км 503+000 – км 537+952 (процент </a:t>
                      </a:r>
                      <a:r>
                        <a:rPr kumimoji="0" lang="ru-RU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ехн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готовности 78%) и км 540 – км 575 (процент </a:t>
                      </a:r>
                      <a:r>
                        <a:rPr kumimoji="0" lang="ru-RU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ехн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готовности 55%);</a:t>
                      </a:r>
                    </a:p>
                    <a:p>
                      <a:pPr marL="285750" marR="0" lvl="0" indent="-2857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2-ух мостовых переходах: на 539 км (процент </a:t>
                      </a:r>
                      <a:r>
                        <a:rPr kumimoji="0" lang="ru-RU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ехн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готовности 16%) и 502 км (процент </a:t>
                      </a:r>
                      <a:r>
                        <a:rPr kumimoji="0" lang="ru-RU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ехн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готовности 8%)</a:t>
                      </a:r>
                    </a:p>
                  </a:txBody>
                  <a:tcPr marL="91443" marR="91443" marT="45706" marB="4570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,9 км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,8 км</a:t>
                      </a:r>
                    </a:p>
                  </a:txBody>
                  <a:tcPr marL="91443" marR="91443" marT="45706" marB="4570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344" name="Group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6649651"/>
              </p:ext>
            </p:extLst>
          </p:nvPr>
        </p:nvGraphicFramePr>
        <p:xfrm>
          <a:off x="179512" y="546960"/>
          <a:ext cx="8784976" cy="4106176"/>
        </p:xfrm>
        <a:graphic>
          <a:graphicData uri="http://schemas.openxmlformats.org/drawingml/2006/table">
            <a:tbl>
              <a:tblPr/>
              <a:tblGrid>
                <a:gridCol w="1870927"/>
                <a:gridCol w="6914049"/>
              </a:tblGrid>
              <a:tr h="60603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742950" algn="l"/>
                        </a:tabLst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униципальное образование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Arial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742950" algn="l"/>
                        </a:tabLst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кты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циального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значения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Arial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</a:tr>
              <a:tr h="86119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742950" algn="l"/>
                        </a:tabLst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виденский ГО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742950" algn="l"/>
                        </a:tabLst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ногофункциональная спортивная площадка с искусственным покрытием в с. Новое Чаплино; морг модульного исполнения для ГБУЗ «Провиденская районная больница»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50642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О </a:t>
                      </a:r>
                      <a:r>
                        <a:rPr kumimoji="0" lang="ru-RU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век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742950" algn="l"/>
                        </a:tabLst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рг модульного исполнения для ГБУЗ «Чаунская районная больница»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35086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charset="0"/>
                        </a:rPr>
                        <a:t>Анадырский МР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742950" algn="l"/>
                        </a:tabLst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«Магазин - пекарня - склад в с. Ваеги»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</a:tr>
              <a:tr h="35086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742950" algn="l"/>
                        </a:tabLst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укотский МР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742950" algn="l"/>
                        </a:tabLst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charset="0"/>
                        </a:rPr>
                        <a:t>Врачебная амбулатория в </a:t>
                      </a:r>
                      <a:r>
                        <a:rPr kumimoji="0" lang="ru-RU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charset="0"/>
                        </a:rPr>
                        <a:t>с.Уэлен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60603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742950" algn="l"/>
                        </a:tabLst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charset="0"/>
                        </a:rPr>
                        <a:t>ГО Эгвекинот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742950" algn="l"/>
                        </a:tabLst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орг модульного исполнения для ГБУЗ 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charset="0"/>
                        </a:rPr>
                        <a:t>«Межрайонный медицинский центр» в </a:t>
                      </a:r>
                      <a:r>
                        <a:rPr kumimoji="0" lang="ru-RU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charset="0"/>
                        </a:rPr>
                        <a:t>п.Эгвекинот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charset="0"/>
                      </a:endParaRP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82475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742950" algn="l"/>
                        </a:tabLst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charset="0"/>
                        </a:rPr>
                        <a:t>Билибинский МР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742950" algn="l"/>
                        </a:tabLst>
                      </a:pP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charset="0"/>
                        </a:rPr>
                        <a:t>Модульный резервный источник энергоснабжения для ГБУЗ «Межрайонный медицинский центр в г. </a:t>
                      </a:r>
                      <a:r>
                        <a:rPr kumimoji="0" lang="ru-RU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charset="0"/>
                        </a:rPr>
                        <a:t>Билибино</a:t>
                      </a:r>
                      <a:r>
                        <a:rPr kumimoji="0" 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Arial" charset="0"/>
                        </a:rPr>
                        <a:t>»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3349" name="Picture 3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9424"/>
            <a:ext cx="9252520" cy="161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0" y="0"/>
            <a:ext cx="2051720" cy="338554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60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1691308" y="130805"/>
            <a:ext cx="7344816" cy="400110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ru-RU" sz="2000" b="1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Финансовые результаты деятельности предприятий</a:t>
            </a:r>
          </a:p>
        </p:txBody>
      </p:sp>
      <p:sp>
        <p:nvSpPr>
          <p:cNvPr id="14341" name="TextBox 15"/>
          <p:cNvSpPr txBox="1">
            <a:spLocks noChangeArrowheads="1"/>
          </p:cNvSpPr>
          <p:nvPr/>
        </p:nvSpPr>
        <p:spPr bwMode="auto">
          <a:xfrm>
            <a:off x="530548" y="836712"/>
            <a:ext cx="5697636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Сумма прибыли прибыльных предприятий составила </a:t>
            </a:r>
            <a:endParaRPr lang="ru-RU" alt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28 923 </a:t>
            </a: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млн. рублей (</a:t>
            </a: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рост в 1,7 раза </a:t>
            </a: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к </a:t>
            </a: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2014 </a:t>
            </a: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году). </a:t>
            </a:r>
            <a:endParaRPr lang="ru-RU" alt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96,8% </a:t>
            </a: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прибыли </a:t>
            </a: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обеспечили предприятия, </a:t>
            </a: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занимающиеся добычей полезных ископаемых</a:t>
            </a:r>
          </a:p>
          <a:p>
            <a:pPr algn="ctr"/>
            <a:endParaRPr lang="ru-RU" alt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4342" name="Object 1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89638161"/>
              </p:ext>
            </p:extLst>
          </p:nvPr>
        </p:nvGraphicFramePr>
        <p:xfrm>
          <a:off x="0" y="1916113"/>
          <a:ext cx="8547100" cy="4635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9" name="Лист" r:id="rId5" imgW="8544035" imgH="4638743" progId="Excel.Sheet.8">
                  <p:embed/>
                </p:oleObj>
              </mc:Choice>
              <mc:Fallback>
                <p:oleObj name="Лист" r:id="rId5" imgW="8544035" imgH="4638743" progId="Excel.Sheet.8">
                  <p:embed/>
                  <p:pic>
                    <p:nvPicPr>
                      <p:cNvPr id="0" name="Object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916113"/>
                        <a:ext cx="8547100" cy="4635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344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558281"/>
            <a:ext cx="9250932" cy="161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0" y="0"/>
            <a:ext cx="2051720" cy="330860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55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55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55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1763688" y="59154"/>
            <a:ext cx="5761038" cy="400050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000" b="1" dirty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декс потребительских цен</a:t>
            </a:r>
          </a:p>
        </p:txBody>
      </p:sp>
      <p:graphicFrame>
        <p:nvGraphicFramePr>
          <p:cNvPr id="15365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41465032"/>
              </p:ext>
            </p:extLst>
          </p:nvPr>
        </p:nvGraphicFramePr>
        <p:xfrm>
          <a:off x="92075" y="1557338"/>
          <a:ext cx="8723313" cy="5194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2" name="Лист" r:id="rId5" imgW="8725024" imgH="5191057" progId="Excel.Sheet.8">
                  <p:embed/>
                </p:oleObj>
              </mc:Choice>
              <mc:Fallback>
                <p:oleObj name="Лист" r:id="rId5" imgW="8725024" imgH="5191057" progId="Excel.Sheet.8">
                  <p:embed/>
                  <p:pic>
                    <p:nvPicPr>
                      <p:cNvPr id="0" name="Диаграмма 16"/>
                      <p:cNvPicPr>
                        <a:picLocks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075" y="1557338"/>
                        <a:ext cx="8723313" cy="5194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6" name="Прямоугольник 17"/>
          <p:cNvSpPr>
            <a:spLocks noChangeArrowheads="1"/>
          </p:cNvSpPr>
          <p:nvPr/>
        </p:nvSpPr>
        <p:spPr bwMode="auto">
          <a:xfrm>
            <a:off x="179388" y="549275"/>
            <a:ext cx="6048796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0" fontAlgn="b" hangingPunct="0"/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Индекс потребительских цен </a:t>
            </a:r>
          </a:p>
          <a:p>
            <a:pPr algn="ctr" eaLnBrk="0" fontAlgn="b" hangingPunct="0"/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(декабрь </a:t>
            </a: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года к декабрю </a:t>
            </a: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2014 </a:t>
            </a: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года)  – </a:t>
            </a: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111,1%</a:t>
            </a:r>
            <a:endParaRPr lang="ru-RU" altLang="ru-RU" sz="1600" b="1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altLang="ru-RU" sz="20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r>
              <a:rPr lang="ru-RU" altLang="ru-RU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0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есто в </a:t>
            </a:r>
            <a:r>
              <a:rPr lang="ru-RU" altLang="ru-RU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ДФО</a:t>
            </a:r>
            <a:r>
              <a:rPr lang="ru-RU" altLang="ru-RU" sz="20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; </a:t>
            </a:r>
            <a:r>
              <a:rPr lang="ru-RU" altLang="ru-RU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12 место </a:t>
            </a:r>
            <a:r>
              <a:rPr lang="ru-RU" altLang="ru-RU" sz="20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</a:t>
            </a:r>
            <a:r>
              <a:rPr lang="ru-RU" altLang="ru-RU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РФ</a:t>
            </a:r>
            <a:endParaRPr lang="ru-RU" altLang="ru-RU" sz="2000" b="1" dirty="0">
              <a:solidFill>
                <a:schemeClr val="tx2">
                  <a:lumMod val="60000"/>
                  <a:lumOff val="4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5368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55612"/>
            <a:ext cx="9144000" cy="1598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0" y="0"/>
            <a:ext cx="2051720" cy="338554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60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aphicFrame>
        <p:nvGraphicFramePr>
          <p:cNvPr id="16387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19724286"/>
              </p:ext>
            </p:extLst>
          </p:nvPr>
        </p:nvGraphicFramePr>
        <p:xfrm>
          <a:off x="3995738" y="981075"/>
          <a:ext cx="5016500" cy="567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73" name="Лист" r:id="rId6" imgW="5019610" imgH="5676900" progId="Excel.Sheet.8">
                  <p:embed/>
                </p:oleObj>
              </mc:Choice>
              <mc:Fallback>
                <p:oleObj name="Лист" r:id="rId6" imgW="5019610" imgH="5676900" progId="Excel.Sheet.8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95738" y="981075"/>
                        <a:ext cx="5016500" cy="5676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8" name="Text Box 8"/>
          <p:cNvSpPr txBox="1">
            <a:spLocks noChangeArrowheads="1"/>
          </p:cNvSpPr>
          <p:nvPr/>
        </p:nvSpPr>
        <p:spPr bwMode="auto">
          <a:xfrm>
            <a:off x="1763688" y="33754"/>
            <a:ext cx="655272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ru-RU" sz="20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Номинальная и реальная заработная плата</a:t>
            </a:r>
          </a:p>
        </p:txBody>
      </p:sp>
      <p:sp>
        <p:nvSpPr>
          <p:cNvPr id="16390" name="Rectangle 17"/>
          <p:cNvSpPr>
            <a:spLocks noChangeArrowheads="1"/>
          </p:cNvSpPr>
          <p:nvPr/>
        </p:nvSpPr>
        <p:spPr bwMode="auto">
          <a:xfrm>
            <a:off x="107950" y="517525"/>
            <a:ext cx="597621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Средняя начисленная зарплата в </a:t>
            </a: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году – </a:t>
            </a: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78 893 рубля. </a:t>
            </a:r>
            <a:endParaRPr lang="ru-RU" altLang="ru-RU" sz="1600" b="1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altLang="ru-RU" sz="20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1 место в </a:t>
            </a:r>
            <a:r>
              <a:rPr lang="ru-RU" altLang="ru-RU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ДФО, </a:t>
            </a:r>
            <a:r>
              <a:rPr lang="ru-RU" altLang="ru-RU" sz="20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1 место по РФ</a:t>
            </a:r>
          </a:p>
        </p:txBody>
      </p:sp>
      <p:pic>
        <p:nvPicPr>
          <p:cNvPr id="16393" name="Picture 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47674"/>
            <a:ext cx="9252520" cy="161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0" y="0"/>
            <a:ext cx="2051720" cy="338554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60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  <p:graphicFrame>
        <p:nvGraphicFramePr>
          <p:cNvPr id="2" name="Объект 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134561"/>
              </p:ext>
            </p:extLst>
          </p:nvPr>
        </p:nvGraphicFramePr>
        <p:xfrm>
          <a:off x="-13830" y="1163856"/>
          <a:ext cx="4411662" cy="5067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74" name="Лист" r:id="rId10" imgW="4400466" imgH="5238885" progId="Excel.Sheet.8">
                  <p:embed/>
                </p:oleObj>
              </mc:Choice>
              <mc:Fallback>
                <p:oleObj name="Лист" r:id="rId10" imgW="4400466" imgH="5238885" progId="Excel.Sheet.8">
                  <p:embed/>
                  <p:pic>
                    <p:nvPicPr>
                      <p:cNvPr id="0" name="Object 7"/>
                      <p:cNvPicPr>
                        <a:picLocks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3830" y="1163856"/>
                        <a:ext cx="4411662" cy="5067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476250"/>
            <a:ext cx="9144000" cy="0"/>
          </a:xfrm>
          <a:prstGeom prst="line">
            <a:avLst/>
          </a:prstGeom>
          <a:ln w="38100">
            <a:solidFill>
              <a:srgbClr val="3399FF"/>
            </a:solidFill>
          </a:ln>
          <a:effectLst>
            <a:outerShdw blurRad="50800" dist="38100" dir="2700000" algn="tl" rotWithShape="0">
              <a:srgbClr val="FFCCCC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412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14322025"/>
              </p:ext>
            </p:extLst>
          </p:nvPr>
        </p:nvGraphicFramePr>
        <p:xfrm>
          <a:off x="247650" y="914400"/>
          <a:ext cx="8515350" cy="5676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1" name="Лист" r:id="rId5" imgW="8515401" imgH="5676900" progId="Excel.Sheet.8">
                  <p:embed/>
                </p:oleObj>
              </mc:Choice>
              <mc:Fallback>
                <p:oleObj name="Лист" r:id="rId5" imgW="8515401" imgH="5676900" progId="Excel.Sheet.8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650" y="914400"/>
                        <a:ext cx="8515350" cy="5676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13" name="Rectangle 2"/>
          <p:cNvSpPr>
            <a:spLocks noChangeArrowheads="1"/>
          </p:cNvSpPr>
          <p:nvPr/>
        </p:nvSpPr>
        <p:spPr bwMode="auto">
          <a:xfrm>
            <a:off x="2035374" y="0"/>
            <a:ext cx="575945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/>
            <a:r>
              <a:rPr lang="ru-RU" altLang="ru-RU" sz="20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Номинальный и реальный размер пенсий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0" y="0"/>
            <a:ext cx="2051720" cy="338554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60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8435" name="Rectangle 7"/>
          <p:cNvSpPr>
            <a:spLocks noChangeArrowheads="1"/>
          </p:cNvSpPr>
          <p:nvPr/>
        </p:nvSpPr>
        <p:spPr bwMode="auto">
          <a:xfrm>
            <a:off x="539552" y="-171450"/>
            <a:ext cx="8496945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/>
            <a:r>
              <a:rPr lang="ru-RU" altLang="ru-RU" sz="2000" b="1" dirty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Численность населения с доходами </a:t>
            </a:r>
            <a:endParaRPr lang="ru-RU" altLang="ru-RU" sz="2000" b="1" dirty="0" smtClean="0">
              <a:solidFill>
                <a:srgbClr val="00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 eaLnBrk="0" hangingPunct="0"/>
            <a:r>
              <a:rPr lang="ru-RU" altLang="ru-RU" sz="2000" b="1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иже  </a:t>
            </a:r>
            <a:r>
              <a:rPr lang="ru-RU" altLang="ru-RU" sz="2000" b="1" dirty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житочного минимума</a:t>
            </a:r>
          </a:p>
        </p:txBody>
      </p:sp>
      <p:graphicFrame>
        <p:nvGraphicFramePr>
          <p:cNvPr id="18436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63304608"/>
              </p:ext>
            </p:extLst>
          </p:nvPr>
        </p:nvGraphicFramePr>
        <p:xfrm>
          <a:off x="4160838" y="1054100"/>
          <a:ext cx="4887912" cy="5837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8" name="Лист" r:id="rId6" imgW="4886435" imgH="5838757" progId="Excel.Sheet.8">
                  <p:embed/>
                </p:oleObj>
              </mc:Choice>
              <mc:Fallback>
                <p:oleObj name="Лист" r:id="rId6" imgW="4886435" imgH="5838757" progId="Excel.Sheet.8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60838" y="1054100"/>
                        <a:ext cx="4887912" cy="58372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6929" name="Text Box 17"/>
          <p:cNvSpPr txBox="1">
            <a:spLocks noChangeArrowheads="1"/>
          </p:cNvSpPr>
          <p:nvPr/>
        </p:nvSpPr>
        <p:spPr bwMode="auto">
          <a:xfrm>
            <a:off x="0" y="692150"/>
            <a:ext cx="4679950" cy="892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Доля численности населения с доходами ниже прожиточного минимума за 2014 год – 8,3%</a:t>
            </a:r>
          </a:p>
          <a:p>
            <a:pPr algn="ctr" eaLnBrk="1" hangingPunct="1">
              <a:defRPr/>
            </a:pPr>
            <a:r>
              <a:rPr lang="ru-RU" altLang="ru-RU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1 место в ДФО; 6 место по РФ</a:t>
            </a:r>
          </a:p>
        </p:txBody>
      </p:sp>
      <p:pic>
        <p:nvPicPr>
          <p:cNvPr id="18441" name="Picture 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571912"/>
            <a:ext cx="9217595" cy="161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0" y="0"/>
            <a:ext cx="2051720" cy="338554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60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  <p:graphicFrame>
        <p:nvGraphicFramePr>
          <p:cNvPr id="2" name="Объект 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8828555"/>
              </p:ext>
            </p:extLst>
          </p:nvPr>
        </p:nvGraphicFramePr>
        <p:xfrm>
          <a:off x="34925" y="1700808"/>
          <a:ext cx="4391025" cy="4875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9" name="Лист" r:id="rId10" imgW="4381556" imgH="5038657" progId="Excel.Sheet.8">
                  <p:embed/>
                </p:oleObj>
              </mc:Choice>
              <mc:Fallback>
                <p:oleObj name="Лист" r:id="rId10" imgW="4381556" imgH="5038657" progId="Excel.Sheet.8">
                  <p:embed/>
                  <p:pic>
                    <p:nvPicPr>
                      <p:cNvPr id="0" name="Объект 1"/>
                      <p:cNvPicPr>
                        <a:picLocks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925" y="1700808"/>
                        <a:ext cx="4391025" cy="4875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2074615" y="-69850"/>
            <a:ext cx="6673849" cy="707886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ru-RU" altLang="ru-RU" sz="2000" b="1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инамика численности безработных и уровень безработицы (МОТ и зарегистрированной)</a:t>
            </a: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17574180"/>
              </p:ext>
            </p:extLst>
          </p:nvPr>
        </p:nvGraphicFramePr>
        <p:xfrm>
          <a:off x="3707904" y="1219200"/>
          <a:ext cx="5436097" cy="5580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1812" name="Text Box 20"/>
          <p:cNvSpPr txBox="1">
            <a:spLocks noChangeArrowheads="1"/>
          </p:cNvSpPr>
          <p:nvPr/>
        </p:nvSpPr>
        <p:spPr bwMode="auto">
          <a:xfrm>
            <a:off x="179388" y="765175"/>
            <a:ext cx="3960812" cy="892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Уровень безработицы (по методологии МОТ) в среднем за 2015 год – 4,0%</a:t>
            </a:r>
          </a:p>
          <a:p>
            <a:pPr algn="ctr" eaLnBrk="1" hangingPunct="1">
              <a:defRPr/>
            </a:pPr>
            <a:r>
              <a:rPr lang="ru-RU" altLang="ru-RU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1 место в ДФО; 6 место по РФ</a:t>
            </a:r>
          </a:p>
        </p:txBody>
      </p:sp>
      <p:pic>
        <p:nvPicPr>
          <p:cNvPr id="19464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630" y="574888"/>
            <a:ext cx="9252520" cy="161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0" y="0"/>
            <a:ext cx="2051720" cy="338554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60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  <p:graphicFrame>
        <p:nvGraphicFramePr>
          <p:cNvPr id="2" name="Объект 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1680430"/>
              </p:ext>
            </p:extLst>
          </p:nvPr>
        </p:nvGraphicFramePr>
        <p:xfrm>
          <a:off x="323850" y="1700213"/>
          <a:ext cx="4383088" cy="5029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97" name="Лист" r:id="rId8" imgW="4373776" imgH="5196744" progId="Excel.Sheet.8">
                  <p:embed/>
                </p:oleObj>
              </mc:Choice>
              <mc:Fallback>
                <p:oleObj name="Лист" r:id="rId8" imgW="4373776" imgH="5196744" progId="Excel.Sheet.8">
                  <p:embed/>
                  <p:pic>
                    <p:nvPicPr>
                      <p:cNvPr id="0" name="Объект 1"/>
                      <p:cNvPicPr>
                        <a:picLocks noChangeArrowheads="1"/>
                      </p:cNvPicPr>
                      <p:nvPr/>
                    </p:nvPicPr>
                    <p:blipFill>
                      <a:blip r:embed="rId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3850" y="1700213"/>
                        <a:ext cx="4383088" cy="5029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0484" name="Rectangle 24"/>
          <p:cNvSpPr>
            <a:spLocks noChangeArrowheads="1"/>
          </p:cNvSpPr>
          <p:nvPr/>
        </p:nvSpPr>
        <p:spPr bwMode="auto">
          <a:xfrm>
            <a:off x="1691680" y="0"/>
            <a:ext cx="7164288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/>
            <a:r>
              <a:rPr lang="ru-RU" altLang="ru-RU" sz="20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Численность населения (на конец года</a:t>
            </a:r>
            <a:r>
              <a:rPr lang="ru-RU" altLang="ru-RU" sz="2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), человек</a:t>
            </a:r>
            <a:endParaRPr lang="ru-RU" altLang="ru-RU" sz="20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0485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6588700"/>
              </p:ext>
            </p:extLst>
          </p:nvPr>
        </p:nvGraphicFramePr>
        <p:xfrm>
          <a:off x="179388" y="981075"/>
          <a:ext cx="8542337" cy="5832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9" name="Лист" r:id="rId5" imgW="8542036" imgH="5836968" progId="Excel.Sheet.8">
                  <p:embed/>
                </p:oleObj>
              </mc:Choice>
              <mc:Fallback>
                <p:oleObj name="Лист" r:id="rId5" imgW="8542036" imgH="5836968" progId="Excel.Sheet.8">
                  <p:embed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9388" y="981075"/>
                        <a:ext cx="8542337" cy="58324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487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940" y="528743"/>
            <a:ext cx="9252520" cy="161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0" y="0"/>
            <a:ext cx="2051720" cy="338554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60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1507" name="Rectangle 24"/>
          <p:cNvSpPr>
            <a:spLocks noChangeArrowheads="1"/>
          </p:cNvSpPr>
          <p:nvPr/>
        </p:nvSpPr>
        <p:spPr bwMode="auto">
          <a:xfrm>
            <a:off x="1926207" y="45242"/>
            <a:ext cx="6822257" cy="503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/>
            <a:r>
              <a:rPr lang="ru-RU" altLang="ru-RU" sz="20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Миграция</a:t>
            </a:r>
            <a:r>
              <a:rPr lang="ru-RU" altLang="ru-RU" sz="2000" b="1" dirty="0">
                <a:latin typeface="Times New Roman" pitchFamily="18" charset="0"/>
              </a:rPr>
              <a:t> </a:t>
            </a:r>
            <a:r>
              <a:rPr lang="ru-RU" altLang="ru-RU" sz="2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населения (без учета </a:t>
            </a:r>
            <a:r>
              <a:rPr lang="ru-RU" altLang="ru-RU" sz="2000" b="1" dirty="0" err="1" smtClean="0">
                <a:latin typeface="Tahoma" pitchFamily="34" charset="0"/>
                <a:ea typeface="Tahoma" pitchFamily="34" charset="0"/>
                <a:cs typeface="Tahoma" pitchFamily="34" charset="0"/>
              </a:rPr>
              <a:t>внутрирегиональной</a:t>
            </a:r>
            <a:r>
              <a:rPr lang="ru-RU" altLang="ru-RU" sz="2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миграции), человек</a:t>
            </a:r>
            <a:endParaRPr lang="ru-RU" altLang="ru-RU" sz="20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1508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07011999"/>
              </p:ext>
            </p:extLst>
          </p:nvPr>
        </p:nvGraphicFramePr>
        <p:xfrm>
          <a:off x="107504" y="800330"/>
          <a:ext cx="8928992" cy="59153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4" name="Лист" r:id="rId5" imgW="9631644" imgH="5836968" progId="Excel.Sheet.8">
                  <p:embed/>
                </p:oleObj>
              </mc:Choice>
              <mc:Fallback>
                <p:oleObj name="Лист" r:id="rId5" imgW="9631644" imgH="5836968" progId="Excel.Sheet.8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800330"/>
                        <a:ext cx="8928992" cy="59153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511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2" y="637359"/>
            <a:ext cx="9324528" cy="1629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0" y="0"/>
            <a:ext cx="2051720" cy="338554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60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aphicFrame>
        <p:nvGraphicFramePr>
          <p:cNvPr id="22532" name="Object 2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90355173"/>
              </p:ext>
            </p:extLst>
          </p:nvPr>
        </p:nvGraphicFramePr>
        <p:xfrm>
          <a:off x="-12700" y="764704"/>
          <a:ext cx="9156700" cy="5613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8" name="Лист" r:id="rId5" imgW="9153455" imgH="5610157" progId="Excel.Sheet.8">
                  <p:embed/>
                </p:oleObj>
              </mc:Choice>
              <mc:Fallback>
                <p:oleObj name="Лист" r:id="rId5" imgW="9153455" imgH="5610157" progId="Excel.Sheet.8">
                  <p:embed/>
                  <p:pic>
                    <p:nvPicPr>
                      <p:cNvPr id="0" name="Object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2700" y="764704"/>
                        <a:ext cx="9156700" cy="5613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533" name="Прямоугольник 6"/>
          <p:cNvSpPr>
            <a:spLocks noChangeArrowheads="1"/>
          </p:cNvSpPr>
          <p:nvPr/>
        </p:nvSpPr>
        <p:spPr bwMode="auto">
          <a:xfrm>
            <a:off x="1763688" y="90843"/>
            <a:ext cx="648072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altLang="ru-RU" sz="20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Естественное движение </a:t>
            </a:r>
            <a:r>
              <a:rPr lang="ru-RU" altLang="ru-RU" sz="2000" b="1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населения, человек</a:t>
            </a:r>
            <a:endParaRPr lang="ru-RU" altLang="ru-RU" sz="20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22535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85774"/>
            <a:ext cx="9252520" cy="161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0" y="0"/>
            <a:ext cx="2051720" cy="338554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60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aphicFrame>
        <p:nvGraphicFramePr>
          <p:cNvPr id="5124" name="Object 7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087415"/>
              </p:ext>
            </p:extLst>
          </p:nvPr>
        </p:nvGraphicFramePr>
        <p:xfrm>
          <a:off x="-184150" y="1465263"/>
          <a:ext cx="4762500" cy="4903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2" name="Лист" r:id="rId7" imgW="4396684" imgH="4838616" progId="Excel.Sheet.8">
                  <p:embed/>
                </p:oleObj>
              </mc:Choice>
              <mc:Fallback>
                <p:oleObj name="Лист" r:id="rId7" imgW="4396684" imgH="4838616" progId="Excel.Sheet.8">
                  <p:embed/>
                  <p:pic>
                    <p:nvPicPr>
                      <p:cNvPr id="0" name="Object 7"/>
                      <p:cNvPicPr>
                        <a:picLocks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84150" y="1465263"/>
                        <a:ext cx="4762500" cy="49037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5" name="Rectangle 2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987925" y="5060950"/>
            <a:ext cx="7810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/>
            <a:endParaRPr lang="ru-RU" altLang="ru-RU" sz="1000"/>
          </a:p>
        </p:txBody>
      </p:sp>
      <p:graphicFrame>
        <p:nvGraphicFramePr>
          <p:cNvPr id="5126" name="Object 4"/>
          <p:cNvGraphicFramePr>
            <a:graphicFrameLocks noGrp="1" noChangeAspect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560883108"/>
              </p:ext>
            </p:extLst>
          </p:nvPr>
        </p:nvGraphicFramePr>
        <p:xfrm>
          <a:off x="4427538" y="1663700"/>
          <a:ext cx="4468812" cy="4608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3" name="Лист" r:id="rId10" imgW="4867255" imgH="5019743" progId="Excel.Sheet.8">
                  <p:embed/>
                </p:oleObj>
              </mc:Choice>
              <mc:Fallback>
                <p:oleObj name="Лист" r:id="rId10" imgW="4867255" imgH="5019743" progId="Excel.Sheet.8">
                  <p:embed/>
                  <p:pic>
                    <p:nvPicPr>
                      <p:cNvPr id="0" name="Object 4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27538" y="1663700"/>
                        <a:ext cx="4468812" cy="46085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7" name="Прямоугольник 17"/>
          <p:cNvSpPr>
            <a:spLocks noChangeArrowheads="1"/>
          </p:cNvSpPr>
          <p:nvPr/>
        </p:nvSpPr>
        <p:spPr bwMode="auto">
          <a:xfrm>
            <a:off x="2411760" y="80963"/>
            <a:ext cx="460851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0" hangingPunct="0"/>
            <a:r>
              <a:rPr lang="ru-RU" altLang="ru-RU" sz="2000" b="1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аловой региональный продукт </a:t>
            </a:r>
            <a:endParaRPr lang="ru-RU" altLang="ru-RU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128" name="Прямоугольник 18"/>
          <p:cNvSpPr>
            <a:spLocks noChangeArrowheads="1"/>
          </p:cNvSpPr>
          <p:nvPr/>
        </p:nvSpPr>
        <p:spPr bwMode="auto">
          <a:xfrm>
            <a:off x="0" y="620713"/>
            <a:ext cx="4572000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Валовой региональный продукт на душу населения за </a:t>
            </a: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2014 </a:t>
            </a: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год – </a:t>
            </a: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1 119 </a:t>
            </a: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тыс. рублей</a:t>
            </a:r>
          </a:p>
          <a:p>
            <a:pPr algn="ctr"/>
            <a:r>
              <a:rPr lang="ru-RU" altLang="ru-RU" sz="20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2 место в ДФО; </a:t>
            </a:r>
            <a:r>
              <a:rPr lang="ru-RU" altLang="ru-RU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6 </a:t>
            </a:r>
            <a:r>
              <a:rPr lang="ru-RU" altLang="ru-RU" sz="20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есто в РФ</a:t>
            </a:r>
          </a:p>
        </p:txBody>
      </p:sp>
      <p:pic>
        <p:nvPicPr>
          <p:cNvPr id="5130" name="Picture 11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704" y="500229"/>
            <a:ext cx="9252520" cy="161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0" y="0"/>
            <a:ext cx="2051720" cy="338554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60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907704" y="-4762"/>
            <a:ext cx="6552728" cy="708025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ru-RU" sz="2000" b="1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сполнение «майских» Указов Президента РФ по заработной плате, %</a:t>
            </a:r>
            <a:endParaRPr lang="ru-RU" sz="2000" b="1" dirty="0">
              <a:solidFill>
                <a:srgbClr val="00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355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50198712"/>
              </p:ext>
            </p:extLst>
          </p:nvPr>
        </p:nvGraphicFramePr>
        <p:xfrm>
          <a:off x="0" y="709613"/>
          <a:ext cx="9045575" cy="614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5" name="Лист" r:id="rId5" imgW="8705844" imgH="5734185" progId="Excel.Sheet.8">
                  <p:embed/>
                </p:oleObj>
              </mc:Choice>
              <mc:Fallback>
                <p:oleObj name="Лист" r:id="rId5" imgW="8705844" imgH="5734185" progId="Excel.Sheet.8">
                  <p:embed/>
                  <p:pic>
                    <p:nvPicPr>
                      <p:cNvPr id="0" name="Диаграмма 16"/>
                      <p:cNvPicPr>
                        <a:picLocks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09613"/>
                        <a:ext cx="9045575" cy="6143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55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44526"/>
            <a:ext cx="9252520" cy="161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691680" y="806238"/>
            <a:ext cx="63659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2015 году показатели роста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работной платы отдельных категорий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ботников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полнены по всем категориям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кроме категории </a:t>
            </a:r>
            <a:r>
              <a:rPr lang="ru-RU" sz="1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едработники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реждений </a:t>
            </a:r>
            <a:r>
              <a:rPr lang="ru-RU" sz="14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опобразования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детей)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0" y="0"/>
            <a:ext cx="2051720" cy="338554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60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0" y="0"/>
            <a:ext cx="2051720" cy="338554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60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  <p:graphicFrame>
        <p:nvGraphicFramePr>
          <p:cNvPr id="6148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60655565"/>
              </p:ext>
            </p:extLst>
          </p:nvPr>
        </p:nvGraphicFramePr>
        <p:xfrm>
          <a:off x="103188" y="903288"/>
          <a:ext cx="4838700" cy="2646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0" name="Лист" r:id="rId5" imgW="4895889" imgH="2648085" progId="Excel.Sheet.8">
                  <p:embed/>
                </p:oleObj>
              </mc:Choice>
              <mc:Fallback>
                <p:oleObj name="Лист" r:id="rId5" imgW="4895889" imgH="2648085" progId="Excel.Sheet.8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3188" y="903288"/>
                        <a:ext cx="4838700" cy="26463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149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52898672"/>
              </p:ext>
            </p:extLst>
          </p:nvPr>
        </p:nvGraphicFramePr>
        <p:xfrm>
          <a:off x="4354513" y="3578225"/>
          <a:ext cx="4759325" cy="27066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1" name="Лист" r:id="rId8" imgW="4667357" imgH="2600257" progId="Excel.Sheet.8">
                  <p:embed/>
                </p:oleObj>
              </mc:Choice>
              <mc:Fallback>
                <p:oleObj name="Лист" r:id="rId8" imgW="4667357" imgH="2600257" progId="Excel.Sheet.8">
                  <p:embed/>
                  <p:pic>
                    <p:nvPicPr>
                      <p:cNvPr id="0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354513" y="3578225"/>
                        <a:ext cx="4759325" cy="27066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2448616" y="76200"/>
            <a:ext cx="4355288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ru-RU" sz="2000" b="1" dirty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быча полезных ископаемых</a:t>
            </a:r>
          </a:p>
        </p:txBody>
      </p:sp>
      <p:sp>
        <p:nvSpPr>
          <p:cNvPr id="6152" name="Равнобедренный треугольник 16"/>
          <p:cNvSpPr>
            <a:spLocks noChangeArrowheads="1"/>
          </p:cNvSpPr>
          <p:nvPr/>
        </p:nvSpPr>
        <p:spPr bwMode="auto">
          <a:xfrm>
            <a:off x="7940728" y="4156223"/>
            <a:ext cx="360363" cy="215900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chemeClr val="bg2"/>
            </a:prstShdw>
          </a:effectLst>
        </p:spPr>
        <p:txBody>
          <a:bodyPr/>
          <a:lstStyle/>
          <a:p>
            <a:pPr eaLnBrk="0" hangingPunct="0"/>
            <a:endParaRPr lang="ru-RU" altLang="ru-RU"/>
          </a:p>
        </p:txBody>
      </p:sp>
      <p:sp>
        <p:nvSpPr>
          <p:cNvPr id="6153" name="TextBox 19"/>
          <p:cNvSpPr txBox="1">
            <a:spLocks noChangeArrowheads="1"/>
          </p:cNvSpPr>
          <p:nvPr/>
        </p:nvSpPr>
        <p:spPr bwMode="auto">
          <a:xfrm>
            <a:off x="3483769" y="1376363"/>
            <a:ext cx="10350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ост на </a:t>
            </a:r>
            <a:r>
              <a:rPr lang="ru-RU" altLang="ru-RU" sz="1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1% </a:t>
            </a:r>
            <a:endParaRPr lang="ru-RU" altLang="ru-RU" sz="12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154" name="TextBox 20"/>
          <p:cNvSpPr txBox="1">
            <a:spLocks noChangeArrowheads="1"/>
          </p:cNvSpPr>
          <p:nvPr/>
        </p:nvSpPr>
        <p:spPr bwMode="auto">
          <a:xfrm>
            <a:off x="3301157" y="4359422"/>
            <a:ext cx="1168499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ост </a:t>
            </a:r>
            <a:r>
              <a:rPr lang="ru-RU" altLang="ru-RU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altLang="ru-RU" sz="1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3% </a:t>
            </a:r>
            <a:endParaRPr lang="ru-RU" altLang="ru-RU" sz="12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155" name="TextBox 21"/>
          <p:cNvSpPr txBox="1">
            <a:spLocks noChangeArrowheads="1"/>
          </p:cNvSpPr>
          <p:nvPr/>
        </p:nvSpPr>
        <p:spPr bwMode="auto">
          <a:xfrm>
            <a:off x="7632700" y="3879998"/>
            <a:ext cx="10795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2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ост на </a:t>
            </a:r>
            <a:r>
              <a:rPr lang="ru-RU" altLang="ru-RU" sz="1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0,4%</a:t>
            </a:r>
            <a:endParaRPr lang="ru-RU" altLang="ru-RU" sz="12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157" name="Равнобедренный треугольник 16"/>
          <p:cNvSpPr>
            <a:spLocks noChangeArrowheads="1"/>
          </p:cNvSpPr>
          <p:nvPr/>
        </p:nvSpPr>
        <p:spPr bwMode="auto">
          <a:xfrm>
            <a:off x="3821111" y="1652588"/>
            <a:ext cx="360363" cy="215900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chemeClr val="bg2"/>
            </a:prstShdw>
          </a:effectLst>
        </p:spPr>
        <p:txBody>
          <a:bodyPr/>
          <a:lstStyle/>
          <a:p>
            <a:pPr eaLnBrk="0" hangingPunct="0"/>
            <a:endParaRPr lang="ru-RU" altLang="ru-RU" dirty="0"/>
          </a:p>
        </p:txBody>
      </p:sp>
      <p:pic>
        <p:nvPicPr>
          <p:cNvPr id="6161" name="Picture 19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95173"/>
            <a:ext cx="9252520" cy="161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6156" name="TextBox 22"/>
          <p:cNvSpPr txBox="1">
            <a:spLocks noChangeArrowheads="1"/>
          </p:cNvSpPr>
          <p:nvPr/>
        </p:nvSpPr>
        <p:spPr bwMode="auto">
          <a:xfrm>
            <a:off x="7441187" y="1677175"/>
            <a:ext cx="150390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sz="1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снижение </a:t>
            </a:r>
            <a:r>
              <a:rPr lang="ru-RU" altLang="ru-RU" sz="12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altLang="ru-RU" sz="1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54%</a:t>
            </a:r>
            <a:endParaRPr lang="ru-RU" altLang="ru-RU" sz="12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16703281"/>
              </p:ext>
            </p:extLst>
          </p:nvPr>
        </p:nvGraphicFramePr>
        <p:xfrm>
          <a:off x="4727235" y="924908"/>
          <a:ext cx="4280347" cy="256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2" name="Лист" r:id="rId12" imgW="4191113" imgH="2390843" progId="Excel.Sheet.8">
                  <p:embed/>
                </p:oleObj>
              </mc:Choice>
              <mc:Fallback>
                <p:oleObj name="Лист" r:id="rId12" imgW="4191113" imgH="2390843" progId="Excel.Sheet.8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27235" y="924908"/>
                        <a:ext cx="4280347" cy="25615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Равнобедренный треугольник 18"/>
          <p:cNvSpPr/>
          <p:nvPr/>
        </p:nvSpPr>
        <p:spPr bwMode="auto">
          <a:xfrm>
            <a:off x="8001017" y="1954174"/>
            <a:ext cx="342865" cy="251512"/>
          </a:xfrm>
          <a:prstGeom prst="triangle">
            <a:avLst/>
          </a:prstGeom>
          <a:solidFill>
            <a:srgbClr val="C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rgbClr val="EEECE1"/>
            </a:prstShdw>
          </a:effectLst>
          <a:scene3d>
            <a:camera prst="orthographicFront">
              <a:rot lat="10800000" lon="0" rev="0"/>
            </a:camera>
            <a:lightRig rig="threePt" dir="t"/>
          </a:scene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21" name="Равнобедренный треугольник 16"/>
          <p:cNvSpPr>
            <a:spLocks noChangeArrowheads="1"/>
          </p:cNvSpPr>
          <p:nvPr/>
        </p:nvSpPr>
        <p:spPr bwMode="auto">
          <a:xfrm>
            <a:off x="3640931" y="4680540"/>
            <a:ext cx="360363" cy="215900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chemeClr val="bg2"/>
            </a:prstShdw>
          </a:effectLst>
        </p:spPr>
        <p:txBody>
          <a:bodyPr/>
          <a:lstStyle/>
          <a:p>
            <a:pPr eaLnBrk="0" hangingPunct="0"/>
            <a:endParaRPr lang="ru-RU" altLang="ru-RU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01682300"/>
              </p:ext>
            </p:extLst>
          </p:nvPr>
        </p:nvGraphicFramePr>
        <p:xfrm>
          <a:off x="0" y="3645024"/>
          <a:ext cx="4844480" cy="2636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3" name="Лист" r:id="rId15" imgW="4857801" imgH="2533785" progId="Excel.Sheet.8">
                  <p:embed/>
                </p:oleObj>
              </mc:Choice>
              <mc:Fallback>
                <p:oleObj name="Лист" r:id="rId15" imgW="4857801" imgH="2533785" progId="Excel.Sheet.8">
                  <p:embed/>
                  <p:pic>
                    <p:nvPicPr>
                      <p:cNvPr id="0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645024"/>
                        <a:ext cx="4844480" cy="26368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250825" y="612205"/>
            <a:ext cx="4033838" cy="1400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650" b="1" dirty="0" smtClean="0">
                <a:latin typeface="Times New Roman" pitchFamily="18" charset="0"/>
                <a:cs typeface="Times New Roman" pitchFamily="18" charset="0"/>
              </a:rPr>
              <a:t>Индекс промышленного производства </a:t>
            </a:r>
          </a:p>
          <a:p>
            <a:pPr algn="ctr" eaLnBrk="1" hangingPunct="1">
              <a:defRPr/>
            </a:pPr>
            <a:r>
              <a:rPr lang="ru-RU" altLang="ru-RU" sz="1650" b="1" dirty="0" smtClean="0">
                <a:latin typeface="Times New Roman" pitchFamily="18" charset="0"/>
                <a:cs typeface="Times New Roman" pitchFamily="18" charset="0"/>
              </a:rPr>
              <a:t>в 201</a:t>
            </a:r>
            <a:r>
              <a:rPr lang="ru-RU" altLang="ru-RU" sz="1650" b="1" dirty="0">
                <a:latin typeface="Times New Roman" pitchFamily="18" charset="0"/>
                <a:cs typeface="Times New Roman" pitchFamily="18" charset="0"/>
              </a:rPr>
              <a:t>5</a:t>
            </a:r>
            <a:r>
              <a:rPr lang="ru-RU" altLang="ru-RU" sz="1650" b="1" dirty="0" smtClean="0">
                <a:latin typeface="Times New Roman" pitchFamily="18" charset="0"/>
                <a:cs typeface="Times New Roman" pitchFamily="18" charset="0"/>
              </a:rPr>
              <a:t> году – 85,8%</a:t>
            </a:r>
          </a:p>
          <a:p>
            <a:pPr algn="ctr" eaLnBrk="1" hangingPunct="1">
              <a:defRPr/>
            </a:pPr>
            <a:r>
              <a:rPr lang="ru-RU" altLang="ru-RU" sz="20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9</a:t>
            </a:r>
            <a:r>
              <a:rPr lang="ru-RU" altLang="ru-RU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 место в ДФО; 85 место в РФ</a:t>
            </a:r>
          </a:p>
          <a:p>
            <a:pPr algn="ctr" eaLnBrk="1" hangingPunct="1">
              <a:defRPr/>
            </a:pPr>
            <a:endParaRPr lang="ru-RU" alt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defRPr/>
            </a:pP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2" name="Text Box 11"/>
          <p:cNvSpPr txBox="1">
            <a:spLocks noChangeArrowheads="1"/>
          </p:cNvSpPr>
          <p:nvPr/>
        </p:nvSpPr>
        <p:spPr bwMode="auto">
          <a:xfrm>
            <a:off x="2288952" y="79375"/>
            <a:ext cx="471646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0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Промышленное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производство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graphicFrame>
        <p:nvGraphicFramePr>
          <p:cNvPr id="3" name="Object 1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6319872"/>
              </p:ext>
            </p:extLst>
          </p:nvPr>
        </p:nvGraphicFramePr>
        <p:xfrm>
          <a:off x="-49944" y="1412777"/>
          <a:ext cx="5097623" cy="4824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7177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94730"/>
            <a:ext cx="9252520" cy="161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99999202"/>
              </p:ext>
            </p:extLst>
          </p:nvPr>
        </p:nvGraphicFramePr>
        <p:xfrm>
          <a:off x="4859338" y="1285875"/>
          <a:ext cx="4144962" cy="5400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0" name="Лист" r:id="rId7" imgW="4000399" imgH="4867343" progId="Excel.Sheet.8">
                  <p:embed/>
                </p:oleObj>
              </mc:Choice>
              <mc:Fallback>
                <p:oleObj name="Лист" r:id="rId7" imgW="4000399" imgH="4867343" progId="Excel.Sheet.8">
                  <p:embed/>
                  <p:pic>
                    <p:nvPicPr>
                      <p:cNvPr id="0" name="Объект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59338" y="1285875"/>
                        <a:ext cx="4144962" cy="54006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0" y="0"/>
            <a:ext cx="2051720" cy="338554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60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1814488" y="41276"/>
            <a:ext cx="558006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0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Сельское хозяйство</a:t>
            </a:r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8197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4733184"/>
              </p:ext>
            </p:extLst>
          </p:nvPr>
        </p:nvGraphicFramePr>
        <p:xfrm>
          <a:off x="396875" y="1196975"/>
          <a:ext cx="8232775" cy="5492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6" name="Лист" r:id="rId5" imgW="8016249" imgH="5257872" progId="Excel.Sheet.8">
                  <p:embed/>
                </p:oleObj>
              </mc:Choice>
              <mc:Fallback>
                <p:oleObj name="Лист" r:id="rId5" imgW="8016249" imgH="5257872" progId="Excel.Sheet.8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6875" y="1196975"/>
                        <a:ext cx="8232775" cy="5492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9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83889"/>
            <a:ext cx="9252519" cy="161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0" y="0"/>
            <a:ext cx="2051720" cy="338554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60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1753096" y="84493"/>
            <a:ext cx="648072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0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Производство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оленины (в живом весе), тонн</a:t>
            </a:r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9221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94850166"/>
              </p:ext>
            </p:extLst>
          </p:nvPr>
        </p:nvGraphicFramePr>
        <p:xfrm>
          <a:off x="633611" y="693738"/>
          <a:ext cx="8280400" cy="5759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9" name="Диаграмма" r:id="rId5" imgW="4210110" imgH="3000375" progId="Excel.Chart.8">
                  <p:embed/>
                </p:oleObj>
              </mc:Choice>
              <mc:Fallback>
                <p:oleObj name="Диаграмма" r:id="rId5" imgW="4210110" imgH="3000375" progId="Excel.Chart.8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3611" y="693738"/>
                        <a:ext cx="8280400" cy="57594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06" name="Rectangle 14"/>
          <p:cNvSpPr>
            <a:spLocks noChangeArrowheads="1"/>
          </p:cNvSpPr>
          <p:nvPr/>
        </p:nvSpPr>
        <p:spPr bwMode="auto">
          <a:xfrm>
            <a:off x="7281862" y="2095520"/>
            <a:ext cx="1466601" cy="2769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eaLnBrk="0" hangingPunct="0">
              <a:defRPr/>
            </a:pPr>
            <a:r>
              <a:rPr lang="ru-RU" sz="1200" b="1" dirty="0" smtClean="0">
                <a:solidFill>
                  <a:srgbClr val="C00000"/>
                </a:solidFill>
                <a:latin typeface="Times New Roman" pitchFamily="18" charset="0"/>
              </a:rPr>
              <a:t>Снижение на 22%</a:t>
            </a:r>
            <a:endParaRPr lang="ru-RU" sz="1200" b="1" dirty="0">
              <a:solidFill>
                <a:srgbClr val="C00000"/>
              </a:solidFill>
              <a:latin typeface="Times New Roman" pitchFamily="18" charset="0"/>
            </a:endParaRPr>
          </a:p>
        </p:txBody>
      </p:sp>
      <p:pic>
        <p:nvPicPr>
          <p:cNvPr id="9225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88949"/>
            <a:ext cx="9252520" cy="161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graphicFrame>
        <p:nvGraphicFramePr>
          <p:cNvPr id="9226" name="Object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35408601"/>
              </p:ext>
            </p:extLst>
          </p:nvPr>
        </p:nvGraphicFramePr>
        <p:xfrm>
          <a:off x="388938" y="1412875"/>
          <a:ext cx="8539162" cy="4460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0" name="Лист" r:id="rId9" imgW="8542036" imgH="4465368" progId="Excel.Sheet.8">
                  <p:embed/>
                </p:oleObj>
              </mc:Choice>
              <mc:Fallback>
                <p:oleObj name="Лист" r:id="rId9" imgW="8542036" imgH="4465368" progId="Excel.Sheet.8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8938" y="1412875"/>
                        <a:ext cx="8539162" cy="44608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Равнобедренный треугольник 11"/>
          <p:cNvSpPr/>
          <p:nvPr/>
        </p:nvSpPr>
        <p:spPr bwMode="auto">
          <a:xfrm>
            <a:off x="7762928" y="2402212"/>
            <a:ext cx="342865" cy="251512"/>
          </a:xfrm>
          <a:prstGeom prst="triangle">
            <a:avLst/>
          </a:prstGeom>
          <a:solidFill>
            <a:srgbClr val="C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prstShdw prst="shdw17" dist="17961" dir="2700000">
              <a:srgbClr val="EEECE1"/>
            </a:prstShdw>
          </a:effectLst>
          <a:scene3d>
            <a:camera prst="orthographicFront">
              <a:rot lat="10800000" lon="0" rev="0"/>
            </a:camera>
            <a:lightRig rig="threePt" dir="t"/>
          </a:scene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0" y="0"/>
            <a:ext cx="2051720" cy="338554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60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0245" name="Text Box 5"/>
          <p:cNvSpPr txBox="1">
            <a:spLocks noChangeArrowheads="1"/>
          </p:cNvSpPr>
          <p:nvPr/>
        </p:nvSpPr>
        <p:spPr bwMode="auto">
          <a:xfrm>
            <a:off x="154236" y="688181"/>
            <a:ext cx="5078412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Объем инвестиций в основной капитал</a:t>
            </a:r>
          </a:p>
          <a:p>
            <a:pPr algn="ctr" eaLnBrk="1" hangingPunct="1"/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 на одного жителя в </a:t>
            </a: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2015 году </a:t>
            </a: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167,7 </a:t>
            </a:r>
            <a:r>
              <a:rPr lang="ru-RU" altLang="ru-RU" sz="1600" b="1" dirty="0">
                <a:latin typeface="Times New Roman" pitchFamily="18" charset="0"/>
                <a:cs typeface="Times New Roman" pitchFamily="18" charset="0"/>
              </a:rPr>
              <a:t>тыс. рублей</a:t>
            </a:r>
          </a:p>
          <a:p>
            <a:pPr algn="ctr" eaLnBrk="1" hangingPunct="1"/>
            <a:r>
              <a:rPr lang="ru-RU" altLang="ru-RU" sz="20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4 место в ДФО; </a:t>
            </a:r>
            <a:r>
              <a:rPr lang="ru-RU" altLang="ru-RU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9 место </a:t>
            </a:r>
            <a:r>
              <a:rPr lang="ru-RU" altLang="ru-RU" sz="20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</a:t>
            </a:r>
            <a:r>
              <a:rPr lang="ru-RU" altLang="ru-RU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itchFamily="18" charset="0"/>
                <a:cs typeface="Times New Roman" pitchFamily="18" charset="0"/>
              </a:rPr>
              <a:t>РФ</a:t>
            </a:r>
            <a:endParaRPr lang="ru-RU" altLang="ru-RU" sz="2000" b="1" dirty="0">
              <a:solidFill>
                <a:schemeClr val="tx2">
                  <a:lumMod val="60000"/>
                  <a:lumOff val="4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spcBef>
                <a:spcPct val="50000"/>
              </a:spcBef>
            </a:pPr>
            <a:endParaRPr lang="ru-RU" alt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0246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38104194"/>
              </p:ext>
            </p:extLst>
          </p:nvPr>
        </p:nvGraphicFramePr>
        <p:xfrm>
          <a:off x="4788024" y="1412776"/>
          <a:ext cx="4192588" cy="487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7" name="Лист" r:id="rId6" imgW="3771866" imgH="4390957" progId="Excel.Sheet.8">
                  <p:embed/>
                </p:oleObj>
              </mc:Choice>
              <mc:Fallback>
                <p:oleObj name="Лист" r:id="rId6" imgW="3771866" imgH="4390957" progId="Excel.Sheet.8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88024" y="1412776"/>
                        <a:ext cx="4192588" cy="4873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7" name="Rectangle 5"/>
          <p:cNvSpPr>
            <a:spLocks noChangeArrowheads="1"/>
          </p:cNvSpPr>
          <p:nvPr/>
        </p:nvSpPr>
        <p:spPr bwMode="auto">
          <a:xfrm>
            <a:off x="1603659" y="-4347"/>
            <a:ext cx="604520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/>
            <a:r>
              <a:rPr lang="ru-RU" altLang="ru-RU" sz="20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Инвестиции в основной капитал</a:t>
            </a:r>
          </a:p>
        </p:txBody>
      </p:sp>
      <p:pic>
        <p:nvPicPr>
          <p:cNvPr id="10249" name="Picture 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9424"/>
            <a:ext cx="9252519" cy="161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0" y="0"/>
            <a:ext cx="2051720" cy="338554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60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  <p:graphicFrame>
        <p:nvGraphicFramePr>
          <p:cNvPr id="2" name="Объект 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6936231"/>
              </p:ext>
            </p:extLst>
          </p:nvPr>
        </p:nvGraphicFramePr>
        <p:xfrm>
          <a:off x="234950" y="1544638"/>
          <a:ext cx="4391025" cy="5035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8" name="Лист" r:id="rId10" imgW="4381556" imgH="5204520" progId="Excel.Sheet.8">
                  <p:embed/>
                </p:oleObj>
              </mc:Choice>
              <mc:Fallback>
                <p:oleObj name="Лист" r:id="rId10" imgW="4381556" imgH="5204520" progId="Excel.Sheet.8">
                  <p:embed/>
                  <p:pic>
                    <p:nvPicPr>
                      <p:cNvPr id="0" name="Объект 1"/>
                      <p:cNvPicPr>
                        <a:picLocks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4950" y="1544638"/>
                        <a:ext cx="4391025" cy="50355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aphicFrame>
        <p:nvGraphicFramePr>
          <p:cNvPr id="11268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92079833"/>
              </p:ext>
            </p:extLst>
          </p:nvPr>
        </p:nvGraphicFramePr>
        <p:xfrm>
          <a:off x="323850" y="1052513"/>
          <a:ext cx="8601075" cy="47990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8" name="Лист" r:id="rId5" imgW="9058368" imgH="4800600" progId="Excel.Sheet.8">
                  <p:embed/>
                </p:oleObj>
              </mc:Choice>
              <mc:Fallback>
                <p:oleObj name="Лист" r:id="rId5" imgW="9058368" imgH="4800600" progId="Excel.Sheet.8">
                  <p:embed/>
                  <p:pic>
                    <p:nvPicPr>
                      <p:cNvPr id="0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3850" y="1052513"/>
                        <a:ext cx="8601075" cy="47990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9" name="Rectangle 10"/>
          <p:cNvSpPr>
            <a:spLocks noChangeArrowheads="1"/>
          </p:cNvSpPr>
          <p:nvPr/>
        </p:nvSpPr>
        <p:spPr bwMode="auto">
          <a:xfrm>
            <a:off x="1833888" y="0"/>
            <a:ext cx="6696744" cy="504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/>
            <a:r>
              <a:rPr lang="ru-RU" altLang="ru-RU" sz="20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Структура инвестиций в основной капитал, в %</a:t>
            </a:r>
          </a:p>
        </p:txBody>
      </p:sp>
      <p:pic>
        <p:nvPicPr>
          <p:cNvPr id="11271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04824"/>
            <a:ext cx="9252520" cy="161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0" y="0"/>
            <a:ext cx="2051720" cy="338554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60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aphicFrame>
        <p:nvGraphicFramePr>
          <p:cNvPr id="12292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097564"/>
              </p:ext>
            </p:extLst>
          </p:nvPr>
        </p:nvGraphicFramePr>
        <p:xfrm>
          <a:off x="98995" y="907629"/>
          <a:ext cx="9153525" cy="529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2" name="Лист" r:id="rId5" imgW="9153455" imgH="5295900" progId="Excel.Sheet.8">
                  <p:embed/>
                </p:oleObj>
              </mc:Choice>
              <mc:Fallback>
                <p:oleObj name="Лист" r:id="rId5" imgW="9153455" imgH="5295900" progId="Excel.Sheet.8">
                  <p:embed/>
                  <p:pic>
                    <p:nvPicPr>
                      <p:cNvPr id="0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8995" y="907629"/>
                        <a:ext cx="9153525" cy="5295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3" name="Rectangle 5"/>
          <p:cNvSpPr>
            <a:spLocks noChangeArrowheads="1"/>
          </p:cNvSpPr>
          <p:nvPr/>
        </p:nvSpPr>
        <p:spPr bwMode="auto">
          <a:xfrm>
            <a:off x="0" y="1341438"/>
            <a:ext cx="860425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/>
            <a:r>
              <a:rPr lang="ru-RU" altLang="ru-RU" sz="2000" b="1"/>
              <a:t/>
            </a:r>
            <a:br>
              <a:rPr lang="ru-RU" altLang="ru-RU" sz="2000" b="1"/>
            </a:br>
            <a:r>
              <a:rPr lang="ru-RU" altLang="ru-RU" sz="2000" b="1"/>
              <a:t/>
            </a:r>
            <a:br>
              <a:rPr lang="ru-RU" altLang="ru-RU" sz="2000" b="1"/>
            </a:br>
            <a:r>
              <a:rPr lang="ru-RU" altLang="ru-RU" sz="2000" b="1"/>
              <a:t/>
            </a:r>
            <a:br>
              <a:rPr lang="ru-RU" altLang="ru-RU" sz="2000" b="1"/>
            </a:br>
            <a:r>
              <a:rPr lang="ru-RU" altLang="ru-RU" sz="2000" b="1"/>
              <a:t> </a:t>
            </a:r>
          </a:p>
        </p:txBody>
      </p:sp>
      <p:sp>
        <p:nvSpPr>
          <p:cNvPr id="12294" name="Прямоугольник 8"/>
          <p:cNvSpPr>
            <a:spLocks noChangeArrowheads="1"/>
          </p:cNvSpPr>
          <p:nvPr/>
        </p:nvSpPr>
        <p:spPr bwMode="auto">
          <a:xfrm>
            <a:off x="1917824" y="61536"/>
            <a:ext cx="6102425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0" hangingPunct="0"/>
            <a:r>
              <a:rPr lang="ru-RU" altLang="ru-RU" sz="2000" b="1" dirty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вод в действие жилых домов, тыс. кв</a:t>
            </a:r>
            <a:r>
              <a:rPr lang="ru-RU" altLang="ru-RU" sz="2000" b="1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 м</a:t>
            </a:r>
            <a:r>
              <a:rPr lang="ru-RU" altLang="ru-RU" sz="2000" b="1" dirty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 </a:t>
            </a:r>
            <a:br>
              <a:rPr lang="ru-RU" altLang="ru-RU" sz="2000" b="1" dirty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lang="ru-RU" altLang="ru-RU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271" name="AutoShape 12"/>
          <p:cNvSpPr>
            <a:spLocks noChangeArrowheads="1"/>
          </p:cNvSpPr>
          <p:nvPr/>
        </p:nvSpPr>
        <p:spPr bwMode="auto">
          <a:xfrm>
            <a:off x="3858965" y="759282"/>
            <a:ext cx="4889499" cy="792584"/>
          </a:xfrm>
          <a:prstGeom prst="wedgeRectCallout">
            <a:avLst>
              <a:gd name="adj1" fmla="val 37454"/>
              <a:gd name="adj2" fmla="val 67013"/>
            </a:avLst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ru-RU" sz="1500" b="1" dirty="0" smtClean="0">
                <a:solidFill>
                  <a:srgbClr val="002060"/>
                </a:solidFill>
                <a:latin typeface="Times New Roman" pitchFamily="18" charset="0"/>
                <a:cs typeface="Arial" pitchFamily="34" charset="0"/>
              </a:rPr>
              <a:t>2 этажный жилой </a:t>
            </a:r>
            <a:r>
              <a:rPr lang="ru-RU" sz="1500" b="1" dirty="0">
                <a:solidFill>
                  <a:srgbClr val="002060"/>
                </a:solidFill>
                <a:latin typeface="Times New Roman" pitchFamily="18" charset="0"/>
                <a:cs typeface="Arial" pitchFamily="34" charset="0"/>
              </a:rPr>
              <a:t>дом в </a:t>
            </a:r>
            <a:r>
              <a:rPr lang="ru-RU" sz="1500" b="1" dirty="0" smtClean="0">
                <a:solidFill>
                  <a:srgbClr val="002060"/>
                </a:solidFill>
                <a:latin typeface="Times New Roman" pitchFamily="18" charset="0"/>
                <a:cs typeface="Arial" pitchFamily="34" charset="0"/>
              </a:rPr>
              <a:t>п. Угольные-Копи</a:t>
            </a:r>
            <a:endParaRPr lang="ru-RU" sz="1500" b="1" dirty="0">
              <a:solidFill>
                <a:srgbClr val="002060"/>
              </a:solidFill>
              <a:latin typeface="Times New Roman" pitchFamily="18" charset="0"/>
              <a:cs typeface="Arial" pitchFamily="34" charset="0"/>
            </a:endParaRPr>
          </a:p>
          <a:p>
            <a:pPr>
              <a:defRPr/>
            </a:pPr>
            <a:r>
              <a:rPr lang="ru-RU" sz="1500" b="1" dirty="0">
                <a:solidFill>
                  <a:srgbClr val="002060"/>
                </a:solidFill>
                <a:latin typeface="Times New Roman" pitchFamily="18" charset="0"/>
                <a:cs typeface="Arial" pitchFamily="34" charset="0"/>
              </a:rPr>
              <a:t>м</a:t>
            </a:r>
            <a:r>
              <a:rPr lang="ru-RU" sz="1500" b="1" dirty="0" smtClean="0">
                <a:solidFill>
                  <a:srgbClr val="002060"/>
                </a:solidFill>
                <a:latin typeface="Times New Roman" pitchFamily="18" charset="0"/>
                <a:cs typeface="Arial" pitchFamily="34" charset="0"/>
              </a:rPr>
              <a:t>ногоквартирный </a:t>
            </a:r>
            <a:r>
              <a:rPr lang="ru-RU" sz="1500" b="1" dirty="0">
                <a:solidFill>
                  <a:srgbClr val="002060"/>
                </a:solidFill>
                <a:latin typeface="Times New Roman" pitchFamily="18" charset="0"/>
                <a:cs typeface="Arial" pitchFamily="34" charset="0"/>
              </a:rPr>
              <a:t>жилой дом в с. </a:t>
            </a:r>
            <a:r>
              <a:rPr lang="ru-RU" sz="1500" b="1" dirty="0" err="1" smtClean="0">
                <a:solidFill>
                  <a:srgbClr val="002060"/>
                </a:solidFill>
                <a:latin typeface="Times New Roman" pitchFamily="18" charset="0"/>
                <a:cs typeface="Arial" pitchFamily="34" charset="0"/>
              </a:rPr>
              <a:t>Усть</a:t>
            </a:r>
            <a:r>
              <a:rPr lang="ru-RU" sz="1500" b="1" dirty="0" smtClean="0">
                <a:solidFill>
                  <a:srgbClr val="002060"/>
                </a:solidFill>
                <a:latin typeface="Times New Roman" pitchFamily="18" charset="0"/>
                <a:cs typeface="Arial" pitchFamily="34" charset="0"/>
              </a:rPr>
              <a:t>-Белая</a:t>
            </a:r>
            <a:endParaRPr lang="ru-RU" sz="1500" b="1" dirty="0">
              <a:solidFill>
                <a:srgbClr val="002060"/>
              </a:solidFill>
              <a:latin typeface="Times New Roman" pitchFamily="18" charset="0"/>
              <a:cs typeface="Arial" pitchFamily="34" charset="0"/>
            </a:endParaRPr>
          </a:p>
          <a:p>
            <a:pPr>
              <a:defRPr/>
            </a:pPr>
            <a:r>
              <a:rPr lang="ru-RU" sz="1500" b="1" dirty="0">
                <a:solidFill>
                  <a:srgbClr val="002060"/>
                </a:solidFill>
                <a:latin typeface="Times New Roman" pitchFamily="18" charset="0"/>
                <a:cs typeface="Arial" pitchFamily="34" charset="0"/>
              </a:rPr>
              <a:t>8-ми квартирный жилой дом в п. Угольные Копи</a:t>
            </a:r>
          </a:p>
          <a:p>
            <a:pPr>
              <a:defRPr/>
            </a:pPr>
            <a:endParaRPr lang="ru-RU" sz="1500" dirty="0"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11278" name="Text Box 14"/>
          <p:cNvSpPr txBox="1">
            <a:spLocks noChangeArrowheads="1"/>
          </p:cNvSpPr>
          <p:nvPr/>
        </p:nvSpPr>
        <p:spPr bwMode="auto">
          <a:xfrm>
            <a:off x="3635375" y="2565400"/>
            <a:ext cx="431800" cy="366713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ru-RU"/>
          </a:p>
        </p:txBody>
      </p:sp>
      <p:pic>
        <p:nvPicPr>
          <p:cNvPr id="12298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95503"/>
            <a:ext cx="9252520" cy="161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0" y="0"/>
            <a:ext cx="2051720" cy="338554"/>
          </a:xfrm>
          <a:prstGeom prst="rect">
            <a:avLst/>
          </a:prstGeom>
          <a:noFill/>
          <a:effectLst>
            <a:outerShdw blurRad="152400" dist="723900" dir="5400000" sx="90000" sy="-19000" rotWithShape="0">
              <a:prstClr val="black">
                <a:alpha val="15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ИТОГИ </a:t>
            </a:r>
            <a:r>
              <a:rPr lang="ru-RU" sz="1600" b="1" dirty="0" smtClean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2015 </a:t>
            </a:r>
            <a:r>
              <a:rPr lang="ru-RU" sz="1600" b="1" dirty="0">
                <a:solidFill>
                  <a:srgbClr val="3399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iiYjyiY0mlRCcjBnXY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ligRgqpUGdPh58zc.2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iiYjyiY0mlRCcjBnXY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iiYjyiY0mlRCcjBnXY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iiYjyiY0mlRCcjBnXYj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iiYjyiY0mlRCcjBnXYjQ"/>
</p:tagLst>
</file>

<file path=ppt/theme/theme1.xml><?xml version="1.0" encoding="utf-8"?>
<a:theme xmlns:a="http://schemas.openxmlformats.org/drawingml/2006/main" name="Тема Office">
  <a:themeElements>
    <a:clrScheme name="Тема Offic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Тема Offic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bg2"/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bg2"/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Тема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Тема Office">
  <a:themeElements>
    <a:clrScheme name="Тема Offic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Тема Offic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bg2"/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bg2"/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Тема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025</TotalTime>
  <Words>773</Words>
  <Application>Microsoft Office PowerPoint</Application>
  <PresentationFormat>Экран (4:3)</PresentationFormat>
  <Paragraphs>143</Paragraphs>
  <Slides>20</Slides>
  <Notes>2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0</vt:i4>
      </vt:variant>
    </vt:vector>
  </HeadingPairs>
  <TitlesOfParts>
    <vt:vector size="24" baseType="lpstr">
      <vt:lpstr>Тема Office</vt:lpstr>
      <vt:lpstr>1_Тема Office</vt:lpstr>
      <vt:lpstr>Лист</vt:lpstr>
      <vt:lpstr>Диаграмм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riac4</dc:creator>
  <cp:lastModifiedBy>Гончарова Лариса Генадьевна</cp:lastModifiedBy>
  <cp:revision>1118</cp:revision>
  <cp:lastPrinted>2015-04-17T08:49:34Z</cp:lastPrinted>
  <dcterms:created xsi:type="dcterms:W3CDTF">2013-02-07T11:49:02Z</dcterms:created>
  <dcterms:modified xsi:type="dcterms:W3CDTF">2017-04-24T10:22:53Z</dcterms:modified>
</cp:coreProperties>
</file>